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5"/>
  </p:notesMasterIdLst>
  <p:sldIdLst>
    <p:sldId id="256" r:id="rId2"/>
    <p:sldId id="2078558439" r:id="rId3"/>
    <p:sldId id="2078558478" r:id="rId4"/>
    <p:sldId id="2078558435" r:id="rId5"/>
    <p:sldId id="2078558442" r:id="rId6"/>
    <p:sldId id="2078558443" r:id="rId7"/>
    <p:sldId id="2078558444" r:id="rId8"/>
    <p:sldId id="2078558445" r:id="rId9"/>
    <p:sldId id="2078558446" r:id="rId10"/>
    <p:sldId id="2078558447" r:id="rId11"/>
    <p:sldId id="2078558448" r:id="rId12"/>
    <p:sldId id="2078558489" r:id="rId13"/>
    <p:sldId id="2078558490" r:id="rId14"/>
    <p:sldId id="2078558491" r:id="rId15"/>
    <p:sldId id="2078558458" r:id="rId16"/>
    <p:sldId id="274" r:id="rId17"/>
    <p:sldId id="461" r:id="rId18"/>
    <p:sldId id="2078558459" r:id="rId19"/>
    <p:sldId id="2078558487" r:id="rId20"/>
    <p:sldId id="2078558488" r:id="rId21"/>
    <p:sldId id="2078558452" r:id="rId22"/>
    <p:sldId id="2078558494" r:id="rId23"/>
    <p:sldId id="2078558453" r:id="rId24"/>
    <p:sldId id="2078558495" r:id="rId25"/>
    <p:sldId id="2078558454" r:id="rId26"/>
    <p:sldId id="2078558496" r:id="rId27"/>
    <p:sldId id="2078558463" r:id="rId28"/>
    <p:sldId id="2078558466" r:id="rId29"/>
    <p:sldId id="2078558477" r:id="rId30"/>
    <p:sldId id="2078558465" r:id="rId31"/>
    <p:sldId id="2078558464" r:id="rId32"/>
    <p:sldId id="2078558498" r:id="rId33"/>
    <p:sldId id="2078558460" r:id="rId34"/>
    <p:sldId id="2078558469" r:id="rId35"/>
    <p:sldId id="2078558461" r:id="rId36"/>
    <p:sldId id="2078558475" r:id="rId37"/>
    <p:sldId id="2078558480" r:id="rId38"/>
    <p:sldId id="2078558476" r:id="rId39"/>
    <p:sldId id="2078558481" r:id="rId40"/>
    <p:sldId id="2078558482" r:id="rId41"/>
    <p:sldId id="2078558497" r:id="rId42"/>
    <p:sldId id="2078558483" r:id="rId43"/>
    <p:sldId id="2078558484" r:id="rId44"/>
  </p:sldIdLst>
  <p:sldSz cx="12192000" cy="6858000"/>
  <p:notesSz cx="7099300" cy="10234613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ndin Eva /Regional utvecklingsförvaltning /Falun" initials="LE/u/" lastIdx="3" clrIdx="0">
    <p:extLst>
      <p:ext uri="{19B8F6BF-5375-455C-9EA6-DF929625EA0E}">
        <p15:presenceInfo xmlns:p15="http://schemas.microsoft.com/office/powerpoint/2012/main" userId="Lundin Eva /Regional utvecklingsförvaltning /Falu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703"/>
    <a:srgbClr val="F3F6FB"/>
    <a:srgbClr val="F8E2CD"/>
    <a:srgbClr val="DB6E03"/>
    <a:srgbClr val="FFFFFF"/>
    <a:srgbClr val="EDB781"/>
    <a:srgbClr val="FEF7EE"/>
    <a:srgbClr val="EE74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20" autoAdjust="0"/>
    <p:restoredTop sz="93690" autoAdjust="0"/>
  </p:normalViewPr>
  <p:slideViewPr>
    <p:cSldViewPr snapToGrid="0" snapToObjects="1">
      <p:cViewPr varScale="1">
        <p:scale>
          <a:sx n="62" d="100"/>
          <a:sy n="62" d="100"/>
        </p:scale>
        <p:origin x="776" y="52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458" tIns="47229" rIns="94458" bIns="47229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458" tIns="47229" rIns="94458" bIns="47229" rtlCol="0"/>
          <a:lstStyle>
            <a:lvl1pPr algn="r">
              <a:defRPr sz="1200"/>
            </a:lvl1pPr>
          </a:lstStyle>
          <a:p>
            <a:fld id="{D3185366-E797-44BA-8399-0B8715ED5307}" type="datetimeFigureOut">
              <a:rPr lang="sv-SE" smtClean="0"/>
              <a:t>2024-02-1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458" tIns="47229" rIns="94458" bIns="47229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40" cy="4029879"/>
          </a:xfrm>
          <a:prstGeom prst="rect">
            <a:avLst/>
          </a:prstGeom>
        </p:spPr>
        <p:txBody>
          <a:bodyPr vert="horz" lIns="94458" tIns="47229" rIns="94458" bIns="47229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6"/>
          </a:xfrm>
          <a:prstGeom prst="rect">
            <a:avLst/>
          </a:prstGeom>
        </p:spPr>
        <p:txBody>
          <a:bodyPr vert="horz" lIns="94458" tIns="47229" rIns="94458" bIns="47229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6"/>
          </a:xfrm>
          <a:prstGeom prst="rect">
            <a:avLst/>
          </a:prstGeom>
        </p:spPr>
        <p:txBody>
          <a:bodyPr vert="horz" lIns="94458" tIns="47229" rIns="94458" bIns="47229" rtlCol="0" anchor="b"/>
          <a:lstStyle>
            <a:lvl1pPr algn="r">
              <a:defRPr sz="1200"/>
            </a:lvl1pPr>
          </a:lstStyle>
          <a:p>
            <a:fld id="{33768751-694D-4D88-A027-CF4A95A1B6E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90872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9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97575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30528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94507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0675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223937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4947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567506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031271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329376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37166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58157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570"/>
              </a:lnSpc>
            </a:pPr>
            <a:r>
              <a:rPr lang="sv-SE" dirty="0"/>
              <a:t>Introduktion till dagen (Linda Varga)</a:t>
            </a:r>
            <a:br>
              <a:rPr lang="sv-SE" dirty="0"/>
            </a:br>
            <a:br>
              <a:rPr lang="sv-SE" dirty="0"/>
            </a:b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115323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66365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2948739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6429677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649838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8110191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875026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94507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431645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797738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8642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570"/>
              </a:lnSpc>
            </a:pPr>
            <a:r>
              <a:rPr lang="sv-SE" dirty="0"/>
              <a:t>Introduktion till dagen (Linda Varga)</a:t>
            </a:r>
            <a:br>
              <a:rPr lang="sv-SE" dirty="0"/>
            </a:br>
            <a:br>
              <a:rPr lang="sv-SE" dirty="0"/>
            </a:b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8736374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944544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2B87D4-E949-4254-991C-049B35B1C8FB}" type="slidenum">
              <a:rPr lang="sv-SE" smtClean="0"/>
              <a:t>3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3594935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671446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727043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4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9395116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4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5954123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4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0643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Mycket går i vartannat – kan samordnas – och ännu fler initiativ kommer att komma.</a:t>
            </a:r>
          </a:p>
          <a:p>
            <a:r>
              <a:rPr lang="sv-SE" dirty="0"/>
              <a:t>Inte dubbeljobba.</a:t>
            </a:r>
            <a:br>
              <a:rPr lang="sv-SE" dirty="0"/>
            </a:br>
            <a:r>
              <a:rPr lang="sv-SE" dirty="0"/>
              <a:t>Viktig roll för oss på </a:t>
            </a:r>
            <a:r>
              <a:rPr lang="sv-SE" dirty="0" err="1"/>
              <a:t>lst</a:t>
            </a:r>
            <a:r>
              <a:rPr lang="sv-SE" dirty="0"/>
              <a:t> som fått regeringens uppdrag att försöka hålla ihop helheten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63288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Togs fram i en process tillsammans med alla Dalarnas energibolag som genom detta visar ledarskap för att få ihop ett helt fungerande energisystem.</a:t>
            </a:r>
            <a:br>
              <a:rPr lang="sv-SE" dirty="0"/>
            </a:br>
            <a:r>
              <a:rPr lang="sv-SE" dirty="0"/>
              <a:t>Antogs av Energi- och klimatrådet i slutet av 2022.</a:t>
            </a:r>
            <a:br>
              <a:rPr lang="sv-SE" dirty="0"/>
            </a:br>
            <a:r>
              <a:rPr lang="sv-SE" dirty="0"/>
              <a:t>Består främst av övergripande mål och utpekade strategiska områden.</a:t>
            </a:r>
            <a:br>
              <a:rPr lang="sv-SE" dirty="0"/>
            </a:br>
            <a:r>
              <a:rPr lang="sv-SE" dirty="0"/>
              <a:t>Finns som klickbar bild med undertexter på energiintelligent.se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57893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937631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0679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225328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44699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5400DCCE-D47D-1749-A852-315E31FA6DDF}"/>
              </a:ext>
            </a:extLst>
          </p:cNvPr>
          <p:cNvSpPr/>
          <p:nvPr userDrawn="1"/>
        </p:nvSpPr>
        <p:spPr>
          <a:xfrm>
            <a:off x="-145774" y="-106017"/>
            <a:ext cx="12483548" cy="7182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1129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5063" y="4718639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31" name="Bildobjekt 30">
            <a:extLst>
              <a:ext uri="{FF2B5EF4-FFF2-40B4-BE49-F238E27FC236}">
                <a16:creationId xmlns:a16="http://schemas.microsoft.com/office/drawing/2014/main" id="{A3BB7B7D-2EE5-0641-8E70-6CE95FC09A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90063" y="6081786"/>
            <a:ext cx="1582364" cy="663572"/>
          </a:xfrm>
          <a:prstGeom prst="rect">
            <a:avLst/>
          </a:prstGeom>
        </p:spPr>
      </p:pic>
      <p:pic>
        <p:nvPicPr>
          <p:cNvPr id="40" name="Bildobjekt 39">
            <a:extLst>
              <a:ext uri="{FF2B5EF4-FFF2-40B4-BE49-F238E27FC236}">
                <a16:creationId xmlns:a16="http://schemas.microsoft.com/office/drawing/2014/main" id="{C75C534B-0078-894D-9181-AB79BE1EBD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13341" y="5892800"/>
            <a:ext cx="4540937" cy="965199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65AA45E3-87AD-FCD4-79A2-3274184B7D7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06400" y="384176"/>
            <a:ext cx="1384300" cy="1384300"/>
          </a:xfrm>
          <a:prstGeom prst="rect">
            <a:avLst/>
          </a:prstGeom>
        </p:spPr>
      </p:pic>
      <p:pic>
        <p:nvPicPr>
          <p:cNvPr id="6" name="Picture 2" descr="High Voltage Valleys logotype.">
            <a:extLst>
              <a:ext uri="{FF2B5EF4-FFF2-40B4-BE49-F238E27FC236}">
                <a16:creationId xmlns:a16="http://schemas.microsoft.com/office/drawing/2014/main" id="{9D0FCC43-BCEA-0813-F689-40D478489AF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484" y="5947615"/>
            <a:ext cx="1120177" cy="771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19543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utan Länsstyrel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5400DCCE-D47D-1749-A852-315E31FA6DDF}"/>
              </a:ext>
            </a:extLst>
          </p:cNvPr>
          <p:cNvSpPr/>
          <p:nvPr userDrawn="1"/>
        </p:nvSpPr>
        <p:spPr>
          <a:xfrm>
            <a:off x="-145774" y="-106017"/>
            <a:ext cx="12483548" cy="7182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grpSp>
        <p:nvGrpSpPr>
          <p:cNvPr id="25" name="Grupp 24">
            <a:extLst>
              <a:ext uri="{FF2B5EF4-FFF2-40B4-BE49-F238E27FC236}">
                <a16:creationId xmlns:a16="http://schemas.microsoft.com/office/drawing/2014/main" id="{D939DD61-0728-B540-95E1-98DD56ACAB15}"/>
              </a:ext>
            </a:extLst>
          </p:cNvPr>
          <p:cNvGrpSpPr/>
          <p:nvPr userDrawn="1"/>
        </p:nvGrpSpPr>
        <p:grpSpPr>
          <a:xfrm>
            <a:off x="2922498" y="4616711"/>
            <a:ext cx="6347004" cy="797859"/>
            <a:chOff x="2922498" y="4616711"/>
            <a:chExt cx="6347004" cy="797859"/>
          </a:xfrm>
        </p:grpSpPr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CD49283B-7D1A-304A-A891-F9EEAE4695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847356" y="4616711"/>
              <a:ext cx="797859" cy="797859"/>
            </a:xfrm>
            <a:prstGeom prst="rect">
              <a:avLst/>
            </a:prstGeom>
          </p:spPr>
        </p:pic>
        <p:pic>
          <p:nvPicPr>
            <p:cNvPr id="13" name="Bildobjekt 12">
              <a:extLst>
                <a:ext uri="{FF2B5EF4-FFF2-40B4-BE49-F238E27FC236}">
                  <a16:creationId xmlns:a16="http://schemas.microsoft.com/office/drawing/2014/main" id="{AD576102-257C-9944-9D67-AE23D31A14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922498" y="4616711"/>
              <a:ext cx="797859" cy="797859"/>
            </a:xfrm>
            <a:prstGeom prst="rect">
              <a:avLst/>
            </a:prstGeom>
          </p:spPr>
        </p:pic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5262156D-82DD-AD4A-8220-21B7191E5F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471643" y="4616711"/>
              <a:ext cx="797859" cy="797859"/>
            </a:xfrm>
            <a:prstGeom prst="rect">
              <a:avLst/>
            </a:prstGeom>
          </p:spPr>
        </p:pic>
        <p:pic>
          <p:nvPicPr>
            <p:cNvPr id="17" name="Bildobjekt 16">
              <a:extLst>
                <a:ext uri="{FF2B5EF4-FFF2-40B4-BE49-F238E27FC236}">
                  <a16:creationId xmlns:a16="http://schemas.microsoft.com/office/drawing/2014/main" id="{EAEC15DF-31D7-6F48-916A-330921A09E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621930" y="4616711"/>
              <a:ext cx="797859" cy="797859"/>
            </a:xfrm>
            <a:prstGeom prst="rect">
              <a:avLst/>
            </a:prstGeom>
          </p:spPr>
        </p:pic>
        <p:pic>
          <p:nvPicPr>
            <p:cNvPr id="19" name="Bildobjekt 18">
              <a:extLst>
                <a:ext uri="{FF2B5EF4-FFF2-40B4-BE49-F238E27FC236}">
                  <a16:creationId xmlns:a16="http://schemas.microsoft.com/office/drawing/2014/main" id="{30BF7993-54B6-ED45-BD8D-7962D66DF9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546788" y="4616711"/>
              <a:ext cx="797859" cy="797859"/>
            </a:xfrm>
            <a:prstGeom prst="rect">
              <a:avLst/>
            </a:prstGeom>
          </p:spPr>
        </p:pic>
        <p:pic>
          <p:nvPicPr>
            <p:cNvPr id="21" name="Bildobjekt 20">
              <a:extLst>
                <a:ext uri="{FF2B5EF4-FFF2-40B4-BE49-F238E27FC236}">
                  <a16:creationId xmlns:a16="http://schemas.microsoft.com/office/drawing/2014/main" id="{024E7279-6A07-AA40-87B1-8943EF0F3A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4772214" y="4616711"/>
              <a:ext cx="797859" cy="797859"/>
            </a:xfrm>
            <a:prstGeom prst="rect">
              <a:avLst/>
            </a:prstGeom>
          </p:spPr>
        </p:pic>
        <p:pic>
          <p:nvPicPr>
            <p:cNvPr id="23" name="Bildobjekt 22">
              <a:extLst>
                <a:ext uri="{FF2B5EF4-FFF2-40B4-BE49-F238E27FC236}">
                  <a16:creationId xmlns:a16="http://schemas.microsoft.com/office/drawing/2014/main" id="{41998102-9ACA-F549-9D11-95E09D0481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5697072" y="4616711"/>
              <a:ext cx="797859" cy="797859"/>
            </a:xfrm>
            <a:prstGeom prst="rect">
              <a:avLst/>
            </a:prstGeom>
          </p:spPr>
        </p:pic>
      </p:grpSp>
      <p:pic>
        <p:nvPicPr>
          <p:cNvPr id="40" name="Bildobjekt 39" descr="En bild som visar text&#10;&#10;Automatiskt genererad beskrivning">
            <a:extLst>
              <a:ext uri="{FF2B5EF4-FFF2-40B4-BE49-F238E27FC236}">
                <a16:creationId xmlns:a16="http://schemas.microsoft.com/office/drawing/2014/main" id="{C75C534B-0078-894D-9181-AB79BE1EBD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3342" y="5924273"/>
            <a:ext cx="2419618" cy="79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24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Energi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02989" y="1701478"/>
            <a:ext cx="4663095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Energisystem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EC9110EB-6E9F-B446-B85E-2528DD3D1A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5915" y="2042419"/>
            <a:ext cx="1138177" cy="1138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718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utan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4-02-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64968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med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4-02-16</a:t>
            </a:fld>
            <a:endParaRPr lang="sv-SE" dirty="0"/>
          </a:p>
        </p:txBody>
      </p:sp>
      <p:pic>
        <p:nvPicPr>
          <p:cNvPr id="24" name="Bildobjekt 23">
            <a:extLst>
              <a:ext uri="{FF2B5EF4-FFF2-40B4-BE49-F238E27FC236}">
                <a16:creationId xmlns:a16="http://schemas.microsoft.com/office/drawing/2014/main" id="{03A01D83-5063-A147-B0F3-BD634A68C4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8582954" y="185738"/>
            <a:ext cx="407725" cy="407725"/>
          </a:xfrm>
          <a:prstGeom prst="rect">
            <a:avLst/>
          </a:prstGeom>
          <a:noFill/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46BA2C68-776B-8B46-9012-D6AFFA32D2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70000"/>
          </a:blip>
          <a:stretch>
            <a:fillRect/>
          </a:stretch>
        </p:blipFill>
        <p:spPr>
          <a:xfrm>
            <a:off x="8110330" y="185738"/>
            <a:ext cx="407725" cy="407725"/>
          </a:xfrm>
          <a:prstGeom prst="rect">
            <a:avLst/>
          </a:prstGeom>
          <a:noFill/>
        </p:spPr>
      </p:pic>
      <p:pic>
        <p:nvPicPr>
          <p:cNvPr id="26" name="Bildobjekt 25">
            <a:extLst>
              <a:ext uri="{FF2B5EF4-FFF2-40B4-BE49-F238E27FC236}">
                <a16:creationId xmlns:a16="http://schemas.microsoft.com/office/drawing/2014/main" id="{14938E11-9C1F-CD4C-9996-BF3956C59D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10946075" y="185738"/>
            <a:ext cx="407725" cy="407725"/>
          </a:xfrm>
          <a:prstGeom prst="rect">
            <a:avLst/>
          </a:prstGeom>
          <a:noFill/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D7C239B0-821A-1942-94AD-97EDBE3E17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10000828" y="185738"/>
            <a:ext cx="407725" cy="407725"/>
          </a:xfrm>
          <a:prstGeom prst="rect">
            <a:avLst/>
          </a:prstGeom>
          <a:noFill/>
        </p:spPr>
      </p:pic>
      <p:pic>
        <p:nvPicPr>
          <p:cNvPr id="28" name="Bildobjekt 27">
            <a:extLst>
              <a:ext uri="{FF2B5EF4-FFF2-40B4-BE49-F238E27FC236}">
                <a16:creationId xmlns:a16="http://schemas.microsoft.com/office/drawing/2014/main" id="{41D3AD17-381E-A14F-A300-21F49559E25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70000"/>
          </a:blip>
          <a:stretch>
            <a:fillRect/>
          </a:stretch>
        </p:blipFill>
        <p:spPr>
          <a:xfrm>
            <a:off x="10473452" y="185738"/>
            <a:ext cx="407725" cy="407725"/>
          </a:xfrm>
          <a:prstGeom prst="rect">
            <a:avLst/>
          </a:prstGeom>
          <a:noFill/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23AEBD4D-7FFF-4C42-954B-58B3FE6813B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70000"/>
          </a:blip>
          <a:stretch>
            <a:fillRect/>
          </a:stretch>
        </p:blipFill>
        <p:spPr>
          <a:xfrm>
            <a:off x="9055579" y="185738"/>
            <a:ext cx="407725" cy="407725"/>
          </a:xfrm>
          <a:prstGeom prst="rect">
            <a:avLst/>
          </a:prstGeom>
          <a:noFill/>
        </p:spPr>
      </p:pic>
      <p:pic>
        <p:nvPicPr>
          <p:cNvPr id="30" name="Bildobjekt 29">
            <a:extLst>
              <a:ext uri="{FF2B5EF4-FFF2-40B4-BE49-F238E27FC236}">
                <a16:creationId xmlns:a16="http://schemas.microsoft.com/office/drawing/2014/main" id="{7FC552EB-7F52-FA46-8E52-19E66AFDAB3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70000"/>
          </a:blip>
          <a:stretch>
            <a:fillRect/>
          </a:stretch>
        </p:blipFill>
        <p:spPr>
          <a:xfrm>
            <a:off x="9528203" y="185738"/>
            <a:ext cx="407725" cy="4077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8480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nergi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206948" cy="3731895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231665A5-4DF1-B742-BB73-805654CAC3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21207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2047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yggande och bo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4-02-16</a:t>
            </a:fld>
            <a:endParaRPr lang="sv-SE" dirty="0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0282693F-05A8-584A-879D-2A900F426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19454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948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Byggande och bo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67968"/>
            <a:ext cx="9144000" cy="380878"/>
          </a:xfrm>
        </p:spPr>
        <p:txBody>
          <a:bodyPr>
            <a:normAutofit/>
          </a:bodyPr>
          <a:lstStyle>
            <a:lvl1pPr marL="0" indent="0" algn="l">
              <a:buNone/>
              <a:defRPr sz="1108"/>
            </a:lvl1pPr>
            <a:lvl2pPr marL="178042" indent="0" algn="ctr">
              <a:buNone/>
              <a:defRPr sz="779"/>
            </a:lvl2pPr>
            <a:lvl3pPr marL="356085" indent="0" algn="ctr">
              <a:buNone/>
              <a:defRPr sz="701"/>
            </a:lvl3pPr>
            <a:lvl4pPr marL="534127" indent="0" algn="ctr">
              <a:buNone/>
              <a:defRPr sz="623"/>
            </a:lvl4pPr>
            <a:lvl5pPr marL="712169" indent="0" algn="ctr">
              <a:buNone/>
              <a:defRPr sz="623"/>
            </a:lvl5pPr>
            <a:lvl6pPr marL="890211" indent="0" algn="ctr">
              <a:buNone/>
              <a:defRPr sz="623"/>
            </a:lvl6pPr>
            <a:lvl7pPr marL="1068254" indent="0" algn="ctr">
              <a:buNone/>
              <a:defRPr sz="623"/>
            </a:lvl7pPr>
            <a:lvl8pPr marL="1246296" indent="0" algn="ctr">
              <a:buNone/>
              <a:defRPr sz="623"/>
            </a:lvl8pPr>
            <a:lvl9pPr marL="1424338" indent="0" algn="ctr">
              <a:buNone/>
              <a:defRPr sz="623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0881DD5D-A64D-1B44-9833-2AE4F82FB7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24000" y="2776203"/>
            <a:ext cx="9144000" cy="797859"/>
          </a:xfrm>
        </p:spPr>
        <p:txBody>
          <a:bodyPr>
            <a:normAutofit/>
          </a:bodyPr>
          <a:lstStyle>
            <a:lvl1pPr marL="0" indent="0">
              <a:buNone/>
              <a:defRPr sz="2215" b="0" i="0">
                <a:solidFill>
                  <a:schemeClr val="accent1"/>
                </a:solidFill>
                <a:latin typeface="Eras Medium ITC" panose="020F0502020204030204" pitchFamily="34" charset="0"/>
                <a:cs typeface="Eras Medium ITC" panose="020F0502020204030204" pitchFamily="34" charset="0"/>
              </a:defRPr>
            </a:lvl1pPr>
            <a:lvl2pPr marL="178042" indent="0">
              <a:buNone/>
              <a:defRPr b="0" i="0">
                <a:solidFill>
                  <a:schemeClr val="accent1"/>
                </a:solidFill>
                <a:latin typeface="Eras Medium ITC" panose="020F0502020204030204" pitchFamily="34" charset="0"/>
                <a:cs typeface="Eras Medium ITC" panose="020F0502020204030204" pitchFamily="34" charset="0"/>
              </a:defRPr>
            </a:lvl2pPr>
            <a:lvl3pPr marL="356085" indent="0">
              <a:buNone/>
              <a:defRPr b="0" i="0">
                <a:solidFill>
                  <a:schemeClr val="accent1"/>
                </a:solidFill>
                <a:latin typeface="Eras Medium ITC" panose="020F0502020204030204" pitchFamily="34" charset="0"/>
                <a:cs typeface="Eras Medium ITC" panose="020F0502020204030204" pitchFamily="34" charset="0"/>
              </a:defRPr>
            </a:lvl3pPr>
            <a:lvl4pPr marL="534127" indent="0">
              <a:buNone/>
              <a:defRPr b="0" i="0">
                <a:solidFill>
                  <a:schemeClr val="accent1"/>
                </a:solidFill>
                <a:latin typeface="Eras Medium ITC" panose="020F0502020204030204" pitchFamily="34" charset="0"/>
                <a:cs typeface="Eras Medium ITC" panose="020F0502020204030204" pitchFamily="34" charset="0"/>
              </a:defRPr>
            </a:lvl4pPr>
            <a:lvl5pPr marL="712169" indent="0">
              <a:buNone/>
              <a:defRPr b="0" i="0">
                <a:solidFill>
                  <a:schemeClr val="accent1"/>
                </a:solidFill>
                <a:latin typeface="Eras Medium ITC" panose="020F0502020204030204" pitchFamily="34" charset="0"/>
                <a:cs typeface="Eras Medium ITC" panose="020F0502020204030204" pitchFamily="34" charset="0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3FF5C437-6A92-F746-999E-F2062895A1B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24000" y="4273062"/>
            <a:ext cx="9144000" cy="1749669"/>
          </a:xfrm>
        </p:spPr>
        <p:txBody>
          <a:bodyPr>
            <a:normAutofit/>
          </a:bodyPr>
          <a:lstStyle>
            <a:lvl1pPr>
              <a:defRPr sz="831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43B3AF4F-F13C-4B49-9519-39DC3192F38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" y="656615"/>
            <a:ext cx="12192000" cy="1945909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479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F2C8C-99E2-4E02-A5A4-CAE03DA670D0}" type="datetime1">
              <a:rPr lang="sv-SE" smtClean="0"/>
              <a:t>2024-02-16</a:t>
            </a:fld>
            <a:endParaRPr lang="en-US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Sidfot</a:t>
            </a:r>
            <a:endParaRPr lang="en-US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711FBC-D166-4AB1-A3F9-BF7E013EE5B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ubrik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92346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48060DF-E935-274B-965A-AA6919898530}"/>
              </a:ext>
            </a:extLst>
          </p:cNvPr>
          <p:cNvSpPr/>
          <p:nvPr userDrawn="1"/>
        </p:nvSpPr>
        <p:spPr>
          <a:xfrm>
            <a:off x="-1" y="6176963"/>
            <a:ext cx="12192001" cy="681037"/>
          </a:xfrm>
          <a:prstGeom prst="rect">
            <a:avLst/>
          </a:prstGeom>
          <a:solidFill>
            <a:srgbClr val="F8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475B3A3B-950D-AD43-AE1F-CF6AB32FD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41828B3-A04F-7D49-8ABA-E63B29B463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81A8D9C-88B0-EC46-A4C2-EA2576FC30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4-02-16</a:t>
            </a:fld>
            <a:endParaRPr lang="sv-SE" dirty="0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37FD1550-0A41-E64F-BAB0-4B908E6B155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290314" y="5363127"/>
            <a:ext cx="1358348" cy="135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20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6" r:id="rId3"/>
    <p:sldLayoutId id="2147483650" r:id="rId4"/>
    <p:sldLayoutId id="2147483663" r:id="rId5"/>
    <p:sldLayoutId id="2147483656" r:id="rId6"/>
    <p:sldLayoutId id="2147483657" r:id="rId7"/>
    <p:sldLayoutId id="2147483667" r:id="rId8"/>
    <p:sldLayoutId id="2147483668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DB6E03"/>
          </a:solidFill>
          <a:latin typeface="Eras Medium ITC" panose="020B06020305040208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emf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8.jpg"/><Relationship Id="rId4" Type="http://schemas.openxmlformats.org/officeDocument/2006/relationships/hyperlink" Target="https://www.energiintelligent.se/energisystem/elsystem/effekt4dalarna/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2608352"/>
            <a:ext cx="9144000" cy="937982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br>
              <a:rPr lang="sv-SE" dirty="0"/>
            </a:br>
            <a:br>
              <a:rPr lang="sv-SE" dirty="0"/>
            </a:br>
            <a:r>
              <a:rPr lang="sv-SE" dirty="0"/>
              <a:t>Energiplanering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55063" y="4083639"/>
            <a:ext cx="9144000" cy="797859"/>
          </a:xfrm>
        </p:spPr>
        <p:txBody>
          <a:bodyPr>
            <a:normAutofit fontScale="92500" lnSpcReduction="10000"/>
          </a:bodyPr>
          <a:lstStyle/>
          <a:p>
            <a:r>
              <a:rPr lang="sv-SE" dirty="0"/>
              <a:t>EFFEKT4Dalarna storforum</a:t>
            </a:r>
          </a:p>
          <a:p>
            <a:r>
              <a:rPr lang="sv-SE" dirty="0"/>
              <a:t>16 februari </a:t>
            </a:r>
            <a:r>
              <a:rPr lang="sv-SE" dirty="0" err="1"/>
              <a:t>kl</a:t>
            </a:r>
            <a:r>
              <a:rPr lang="sv-SE" dirty="0"/>
              <a:t> 10-12</a:t>
            </a:r>
          </a:p>
        </p:txBody>
      </p:sp>
    </p:spTree>
    <p:extLst>
      <p:ext uri="{BB962C8B-B14F-4D97-AF65-F5344CB8AC3E}">
        <p14:creationId xmlns:p14="http://schemas.microsoft.com/office/powerpoint/2010/main" val="1692387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ärdplan för smarta energisystem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623B267-EFED-72F2-A867-A3990AF98E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1624"/>
            <a:ext cx="10515600" cy="479107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sv-SE" b="1" dirty="0"/>
              <a:t>Tre balansbilder och delmål </a:t>
            </a:r>
            <a:br>
              <a:rPr lang="sv-SE" dirty="0"/>
            </a:br>
            <a:endParaRPr lang="sv-SE" sz="200" dirty="0"/>
          </a:p>
          <a:p>
            <a:pPr marL="0" indent="0">
              <a:buNone/>
            </a:pPr>
            <a:r>
              <a:rPr lang="sv-SE" dirty="0"/>
              <a:t>Energibalans	      Elbalans		         Effektbalans</a:t>
            </a:r>
          </a:p>
          <a:p>
            <a:pPr marL="0" indent="0">
              <a:buNone/>
            </a:pPr>
            <a:r>
              <a:rPr lang="sv-SE" dirty="0"/>
              <a:t>								</a:t>
            </a:r>
            <a:r>
              <a:rPr lang="sv-SE" sz="1600" dirty="0"/>
              <a:t>Kapa toppar och höja dalar</a:t>
            </a:r>
          </a:p>
          <a:p>
            <a:pPr marL="0" indent="0">
              <a:buNone/>
            </a:pPr>
            <a:endParaRPr lang="sv-SE" sz="1600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b="1" dirty="0"/>
              <a:t>+ Åtgärder för att möta framtida behov och nå målen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D157FD0-DB2C-DDF3-EA31-B93BD6D5E4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2584493"/>
            <a:ext cx="3190465" cy="2681923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458BAD73-6F83-BBFE-8132-16C2EABFA4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8409" y="3073993"/>
            <a:ext cx="3532823" cy="2212382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24148938-4E35-8937-1A6A-8CF8DF243D0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57"/>
          <a:stretch/>
        </p:blipFill>
        <p:spPr bwMode="auto">
          <a:xfrm>
            <a:off x="8091011" y="3009899"/>
            <a:ext cx="3033077" cy="158746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52AF41D1-666E-F63C-3D0A-42C2E497A4CD}"/>
              </a:ext>
            </a:extLst>
          </p:cNvPr>
          <p:cNvSpPr txBox="1"/>
          <p:nvPr/>
        </p:nvSpPr>
        <p:spPr>
          <a:xfrm>
            <a:off x="8205311" y="4622763"/>
            <a:ext cx="29204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Självförsörjningsgrad/ installerad effekt</a:t>
            </a:r>
          </a:p>
        </p:txBody>
      </p:sp>
    </p:spTree>
    <p:extLst>
      <p:ext uri="{BB962C8B-B14F-4D97-AF65-F5344CB8AC3E}">
        <p14:creationId xmlns:p14="http://schemas.microsoft.com/office/powerpoint/2010/main" val="1859021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>
            <a:normAutofit/>
          </a:bodyPr>
          <a:lstStyle/>
          <a:p>
            <a:r>
              <a:rPr lang="sv-SE" dirty="0"/>
              <a:t>Färdplan för Smarta energisystem</a:t>
            </a:r>
            <a:br>
              <a:rPr lang="sv-SE" dirty="0"/>
            </a:br>
            <a:r>
              <a:rPr lang="sv-SE" dirty="0"/>
              <a:t>- Dalarnas innovationsstrategi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862153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Henrik Nilsson, Region Dalarna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703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-600000">
            <a:off x="720870" y="1761617"/>
            <a:ext cx="2667850" cy="3759458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rategi för </a:t>
            </a:r>
            <a:r>
              <a:rPr lang="en-US" dirty="0"/>
              <a:t>smart </a:t>
            </a:r>
            <a:r>
              <a:rPr lang="en-US" dirty="0" err="1"/>
              <a:t>hållbar</a:t>
            </a:r>
            <a:r>
              <a:rPr lang="en-US" dirty="0"/>
              <a:t> </a:t>
            </a:r>
            <a:r>
              <a:rPr lang="en-US" dirty="0" err="1"/>
              <a:t>specialisering</a:t>
            </a:r>
            <a:endParaRPr lang="sv-SE" dirty="0"/>
          </a:p>
        </p:txBody>
      </p:sp>
      <p:sp>
        <p:nvSpPr>
          <p:cNvPr id="5" name="textruta 4"/>
          <p:cNvSpPr txBox="1"/>
          <p:nvPr/>
        </p:nvSpPr>
        <p:spPr>
          <a:xfrm>
            <a:off x="9667935" y="2503676"/>
            <a:ext cx="27107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i="1" dirty="0">
                <a:latin typeface="Arial" panose="020B0604020202020204" pitchFamily="34" charset="0"/>
                <a:cs typeface="Arial" panose="020B0604020202020204" pitchFamily="34" charset="0"/>
              </a:rPr>
              <a:t>” Innovation som ett medel för ökad konkurrenskraft </a:t>
            </a:r>
          </a:p>
          <a:p>
            <a:r>
              <a:rPr lang="sv-SE" i="1" dirty="0">
                <a:latin typeface="Arial" panose="020B0604020202020204" pitchFamily="34" charset="0"/>
                <a:cs typeface="Arial" panose="020B0604020202020204" pitchFamily="34" charset="0"/>
              </a:rPr>
              <a:t>och omställning.”</a:t>
            </a:r>
          </a:p>
        </p:txBody>
      </p:sp>
      <p:pic>
        <p:nvPicPr>
          <p:cNvPr id="11" name="Bildobjekt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600000">
            <a:off x="6799351" y="1761632"/>
            <a:ext cx="2667634" cy="3755240"/>
          </a:xfrm>
          <a:prstGeom prst="rect">
            <a:avLst/>
          </a:prstGeom>
        </p:spPr>
      </p:pic>
      <p:sp>
        <p:nvSpPr>
          <p:cNvPr id="13" name="textruta 12"/>
          <p:cNvSpPr txBox="1"/>
          <p:nvPr/>
        </p:nvSpPr>
        <p:spPr>
          <a:xfrm>
            <a:off x="3479694" y="2413441"/>
            <a:ext cx="271077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i="1" dirty="0">
                <a:latin typeface="Arial" panose="020B0604020202020204" pitchFamily="34" charset="0"/>
                <a:cs typeface="Arial" panose="020B0604020202020204" pitchFamily="34" charset="0"/>
              </a:rPr>
              <a:t>”2030 ska Dalarna ha en hög innovationskraft som möter samhällsutmaningar och utvecklar såväl näringsliv som välfärd.”</a:t>
            </a:r>
          </a:p>
        </p:txBody>
      </p:sp>
    </p:spTree>
    <p:extLst>
      <p:ext uri="{BB962C8B-B14F-4D97-AF65-F5344CB8AC3E}">
        <p14:creationId xmlns:p14="http://schemas.microsoft.com/office/powerpoint/2010/main" val="1863322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unskapsområden</a:t>
            </a:r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E846CD84-1076-96C4-BA0A-B7BEFB3E69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058" y="5369903"/>
            <a:ext cx="9575800" cy="651234"/>
          </a:xfrm>
        </p:spPr>
        <p:txBody>
          <a:bodyPr/>
          <a:lstStyle/>
          <a:p>
            <a:pPr marL="0" indent="0">
              <a:buNone/>
            </a:pPr>
            <a:r>
              <a:rPr lang="sv-SE" dirty="0"/>
              <a:t>En plattform och en färdplan för varje kunskapsområde </a:t>
            </a:r>
          </a:p>
        </p:txBody>
      </p:sp>
      <p:grpSp>
        <p:nvGrpSpPr>
          <p:cNvPr id="18" name="Grupp 17"/>
          <p:cNvGrpSpPr/>
          <p:nvPr/>
        </p:nvGrpSpPr>
        <p:grpSpPr>
          <a:xfrm>
            <a:off x="127000" y="1269850"/>
            <a:ext cx="12192000" cy="2483337"/>
            <a:chOff x="127000" y="1269850"/>
            <a:chExt cx="12192000" cy="2483337"/>
          </a:xfrm>
        </p:grpSpPr>
        <p:pic>
          <p:nvPicPr>
            <p:cNvPr id="4" name="Bildobjekt 3">
              <a:extLst>
                <a:ext uri="{FF2B5EF4-FFF2-40B4-BE49-F238E27FC236}">
                  <a16:creationId xmlns:a16="http://schemas.microsoft.com/office/drawing/2014/main" id="{F5A8F7EE-D5D8-883A-0FD0-0EA6820912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000" y="1269850"/>
              <a:ext cx="12192000" cy="2351237"/>
            </a:xfrm>
            <a:prstGeom prst="rect">
              <a:avLst/>
            </a:prstGeom>
          </p:spPr>
        </p:pic>
        <p:grpSp>
          <p:nvGrpSpPr>
            <p:cNvPr id="16" name="Grupp 15"/>
            <p:cNvGrpSpPr/>
            <p:nvPr/>
          </p:nvGrpSpPr>
          <p:grpSpPr>
            <a:xfrm>
              <a:off x="745787" y="3289502"/>
              <a:ext cx="9377464" cy="463685"/>
              <a:chOff x="745787" y="3159800"/>
              <a:chExt cx="9377464" cy="463685"/>
            </a:xfrm>
          </p:grpSpPr>
          <p:cxnSp>
            <p:nvCxnSpPr>
              <p:cNvPr id="5" name="Rak koppling 4"/>
              <p:cNvCxnSpPr/>
              <p:nvPr/>
            </p:nvCxnSpPr>
            <p:spPr>
              <a:xfrm>
                <a:off x="745787" y="3621087"/>
                <a:ext cx="9377464" cy="0"/>
              </a:xfrm>
              <a:prstGeom prst="line">
                <a:avLst/>
              </a:prstGeom>
              <a:ln w="571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Rak pilkoppling 9"/>
              <p:cNvCxnSpPr/>
              <p:nvPr/>
            </p:nvCxnSpPr>
            <p:spPr>
              <a:xfrm flipV="1">
                <a:off x="1802860" y="3180100"/>
                <a:ext cx="0" cy="440987"/>
              </a:xfrm>
              <a:prstGeom prst="straightConnector1">
                <a:avLst/>
              </a:prstGeom>
              <a:ln w="57150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Rak pilkoppling 11"/>
              <p:cNvCxnSpPr/>
              <p:nvPr/>
            </p:nvCxnSpPr>
            <p:spPr>
              <a:xfrm flipV="1">
                <a:off x="3680298" y="3182498"/>
                <a:ext cx="0" cy="440987"/>
              </a:xfrm>
              <a:prstGeom prst="straightConnector1">
                <a:avLst/>
              </a:prstGeom>
              <a:ln w="57150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Rak pilkoppling 12"/>
              <p:cNvCxnSpPr/>
              <p:nvPr/>
            </p:nvCxnSpPr>
            <p:spPr>
              <a:xfrm flipV="1">
                <a:off x="5512341" y="3159800"/>
                <a:ext cx="0" cy="440987"/>
              </a:xfrm>
              <a:prstGeom prst="straightConnector1">
                <a:avLst/>
              </a:prstGeom>
              <a:ln w="57150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Rak pilkoppling 13"/>
              <p:cNvCxnSpPr/>
              <p:nvPr/>
            </p:nvCxnSpPr>
            <p:spPr>
              <a:xfrm flipV="1">
                <a:off x="7324928" y="3180100"/>
                <a:ext cx="0" cy="440987"/>
              </a:xfrm>
              <a:prstGeom prst="straightConnector1">
                <a:avLst/>
              </a:prstGeom>
              <a:ln w="57150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Rak pilkoppling 14"/>
              <p:cNvCxnSpPr/>
              <p:nvPr/>
            </p:nvCxnSpPr>
            <p:spPr>
              <a:xfrm flipV="1">
                <a:off x="9195881" y="3159800"/>
                <a:ext cx="0" cy="440987"/>
              </a:xfrm>
              <a:prstGeom prst="straightConnector1">
                <a:avLst/>
              </a:prstGeom>
              <a:ln w="57150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7" name="textruta 16"/>
          <p:cNvSpPr txBox="1"/>
          <p:nvPr/>
        </p:nvSpPr>
        <p:spPr>
          <a:xfrm>
            <a:off x="745787" y="3880288"/>
            <a:ext cx="9377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Social innovation                           Agenda 2030</a:t>
            </a:r>
          </a:p>
        </p:txBody>
      </p:sp>
    </p:spTree>
    <p:extLst>
      <p:ext uri="{BB962C8B-B14F-4D97-AF65-F5344CB8AC3E}">
        <p14:creationId xmlns:p14="http://schemas.microsoft.com/office/powerpoint/2010/main" val="41808776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1999496" cy="1325563"/>
          </a:xfrm>
        </p:spPr>
        <p:txBody>
          <a:bodyPr>
            <a:normAutofit/>
          </a:bodyPr>
          <a:lstStyle/>
          <a:p>
            <a:r>
              <a:rPr lang="sv-SE" dirty="0"/>
              <a:t>Plattform och färdplan Smarta Energisystem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623B267-EFED-72F2-A867-A3990AF98E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b="1" dirty="0"/>
              <a:t>Färdplan</a:t>
            </a:r>
            <a:br>
              <a:rPr lang="sv-SE" dirty="0"/>
            </a:br>
            <a:r>
              <a:rPr lang="sv-SE" dirty="0"/>
              <a:t>- Behov av innovationer</a:t>
            </a:r>
            <a:br>
              <a:rPr lang="sv-SE" dirty="0"/>
            </a:br>
            <a:r>
              <a:rPr lang="sv-SE" dirty="0"/>
              <a:t>- Styrkeområden</a:t>
            </a:r>
            <a:br>
              <a:rPr lang="sv-SE" dirty="0"/>
            </a:br>
            <a:r>
              <a:rPr lang="sv-SE" dirty="0"/>
              <a:t>- Unika förutsättningar i Dalarna</a:t>
            </a:r>
            <a:br>
              <a:rPr lang="sv-SE" dirty="0"/>
            </a:br>
            <a:r>
              <a:rPr lang="sv-SE" dirty="0"/>
              <a:t>- Bidrar till strategisk projektportfölj</a:t>
            </a:r>
            <a:br>
              <a:rPr lang="sv-SE" dirty="0"/>
            </a:br>
            <a:endParaRPr lang="sv-SE" dirty="0"/>
          </a:p>
          <a:p>
            <a:pPr marL="0" indent="0">
              <a:buNone/>
            </a:pPr>
            <a:r>
              <a:rPr lang="sv-SE" b="1" dirty="0"/>
              <a:t>Plattform</a:t>
            </a:r>
            <a:br>
              <a:rPr lang="sv-SE" dirty="0"/>
            </a:br>
            <a:r>
              <a:rPr lang="sv-SE" dirty="0"/>
              <a:t>Projektet Boost Dalarna</a:t>
            </a:r>
            <a:br>
              <a:rPr lang="sv-SE" dirty="0"/>
            </a:br>
            <a:endParaRPr lang="sv-SE" dirty="0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931E7FC1-CFA7-B9B0-E21F-578E535183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5066196"/>
            <a:ext cx="9577303" cy="734021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81184" y="4596630"/>
            <a:ext cx="821739" cy="469565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5445" y="4590379"/>
            <a:ext cx="2546138" cy="528129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00862" y="2089031"/>
            <a:ext cx="1657350" cy="1762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655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/>
          <a:lstStyle/>
          <a:p>
            <a:r>
              <a:rPr lang="sv-SE" dirty="0"/>
              <a:t>Nätutvecklingspla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625850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Jonas Lindblom, </a:t>
            </a:r>
            <a:r>
              <a:rPr lang="sv-SE" dirty="0" err="1"/>
              <a:t>Ellevio</a:t>
            </a:r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3640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 vert="horz" lIns="0" tIns="0" rIns="0" bIns="72000" rtlCol="0" anchor="b">
            <a:normAutofit/>
          </a:bodyPr>
          <a:lstStyle/>
          <a:p>
            <a:r>
              <a:rPr lang="sv-SE" dirty="0"/>
              <a:t>Process för framtagning av nätutvecklingsplaner</a:t>
            </a:r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7DE31A2E-22C4-4177-9439-4AFE65F1E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idfot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8C341A6F-8287-4D6E-8E8F-D0F5A4165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11FBC-D166-4AB1-A3F9-BF7E013EE5B0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F062D8A-E8F9-1436-49BA-6D26AA96106C}"/>
              </a:ext>
            </a:extLst>
          </p:cNvPr>
          <p:cNvSpPr/>
          <p:nvPr/>
        </p:nvSpPr>
        <p:spPr>
          <a:xfrm>
            <a:off x="1275126" y="1980820"/>
            <a:ext cx="2407641" cy="1801650"/>
          </a:xfrm>
          <a:prstGeom prst="roundRect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teg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kapa och publicera preliminär NUP.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</a:t>
            </a:r>
            <a:r>
              <a:rPr kumimoji="0" lang="sv-SE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enast</a:t>
            </a: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15/9-202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4A6E7752-A5FE-6F3E-B47E-506406C79097}"/>
              </a:ext>
            </a:extLst>
          </p:cNvPr>
          <p:cNvSpPr/>
          <p:nvPr/>
        </p:nvSpPr>
        <p:spPr>
          <a:xfrm>
            <a:off x="4892179" y="1980820"/>
            <a:ext cx="2407641" cy="1801650"/>
          </a:xfrm>
          <a:prstGeom prst="roundRect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teg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Offentligt samråd med SVK och berörda systemanvända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15/9 + minst 6 vecko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EDB3A09-943C-4BD7-DC2C-B0804FDFD5D4}"/>
              </a:ext>
            </a:extLst>
          </p:cNvPr>
          <p:cNvSpPr/>
          <p:nvPr/>
        </p:nvSpPr>
        <p:spPr>
          <a:xfrm>
            <a:off x="8509232" y="1980820"/>
            <a:ext cx="2407641" cy="1801650"/>
          </a:xfrm>
          <a:prstGeom prst="roundRect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teg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Uppdatera NUP och publicera slutgiltig version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</a:t>
            </a:r>
            <a:r>
              <a:rPr kumimoji="0" lang="sv-SE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enast</a:t>
            </a:r>
            <a:r>
              <a:rPr kumimoji="0" lang="sv-SE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31/12-202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6C745CD7-38CE-6E17-F03A-E8D92B20B41E}"/>
              </a:ext>
            </a:extLst>
          </p:cNvPr>
          <p:cNvSpPr/>
          <p:nvPr/>
        </p:nvSpPr>
        <p:spPr>
          <a:xfrm rot="5400000">
            <a:off x="3837473" y="2702273"/>
            <a:ext cx="900000" cy="285226"/>
          </a:xfrm>
          <a:prstGeom prst="triangle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DD380778-AD6A-B36E-673D-EFF16C2DC2E2}"/>
              </a:ext>
            </a:extLst>
          </p:cNvPr>
          <p:cNvSpPr/>
          <p:nvPr/>
        </p:nvSpPr>
        <p:spPr>
          <a:xfrm rot="5400000">
            <a:off x="7454526" y="2702273"/>
            <a:ext cx="900000" cy="285226"/>
          </a:xfrm>
          <a:prstGeom prst="triangle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02D0FF-3246-DD22-E526-330104F4B53C}"/>
              </a:ext>
            </a:extLst>
          </p:cNvPr>
          <p:cNvSpPr txBox="1"/>
          <p:nvPr/>
        </p:nvSpPr>
        <p:spPr>
          <a:xfrm>
            <a:off x="3815024" y="5036072"/>
            <a:ext cx="65002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Upprepas vartannat å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Omfattar kommande tioårsperiod (2025-2035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712AA495-1C8C-C889-100E-24D6AFEA9644}"/>
              </a:ext>
            </a:extLst>
          </p:cNvPr>
          <p:cNvSpPr/>
          <p:nvPr/>
        </p:nvSpPr>
        <p:spPr>
          <a:xfrm rot="5400000">
            <a:off x="5805375" y="-404088"/>
            <a:ext cx="646331" cy="9626718"/>
          </a:xfrm>
          <a:prstGeom prst="rightBrace">
            <a:avLst/>
          </a:prstGeom>
          <a:ln w="28575">
            <a:solidFill>
              <a:srgbClr val="ED770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 w="0"/>
              <a:solidFill>
                <a:srgbClr val="FF82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82505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5D37B0B-33EC-021D-A4E7-6A61D2F95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4" progId="TCLayout.ActiveDocument.1">
                  <p:embed/>
                </p:oleObj>
              </mc:Choice>
              <mc:Fallback>
                <p:oleObj name="think-cell Slide" r:id="rId3" imgW="353" imgH="35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D37B0B-33EC-021D-A4E7-6A61D2F95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ubrik 5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22213"/>
          </a:xfrm>
        </p:spPr>
        <p:txBody>
          <a:bodyPr vert="horz" lIns="0" tIns="0" rIns="0" bIns="72000" rtlCol="0" anchor="b">
            <a:normAutofit/>
          </a:bodyPr>
          <a:lstStyle/>
          <a:p>
            <a:r>
              <a:rPr lang="sv-SE" dirty="0"/>
              <a:t>Sammanfattning</a:t>
            </a:r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7DE31A2E-22C4-4177-9439-4AFE65F1E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t</a:t>
            </a:r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8C341A6F-8287-4D6E-8E8F-D0F5A4165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11FBC-D166-4AB1-A3F9-BF7E013EE5B0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1F062D8A-E8F9-1436-49BA-6D26AA96106C}"/>
              </a:ext>
            </a:extLst>
          </p:cNvPr>
          <p:cNvSpPr/>
          <p:nvPr/>
        </p:nvSpPr>
        <p:spPr>
          <a:xfrm>
            <a:off x="3775518" y="2439173"/>
            <a:ext cx="1995017" cy="999676"/>
          </a:xfrm>
          <a:prstGeom prst="roundRect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Prognos för effektbehov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52D7DF-F929-A292-9ACF-4055DF11899A}"/>
              </a:ext>
            </a:extLst>
          </p:cNvPr>
          <p:cNvSpPr txBox="1"/>
          <p:nvPr/>
        </p:nvSpPr>
        <p:spPr>
          <a:xfrm>
            <a:off x="1308561" y="1187338"/>
            <a:ext cx="35956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Vilk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informati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komm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at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finna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nätutvecklingsplaner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?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505C68-4060-7223-14E3-05C6C4B7973D}"/>
              </a:ext>
            </a:extLst>
          </p:cNvPr>
          <p:cNvSpPr txBox="1"/>
          <p:nvPr/>
        </p:nvSpPr>
        <p:spPr>
          <a:xfrm>
            <a:off x="7359403" y="1204789"/>
            <a:ext cx="35956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Vilk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informati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komm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int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at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finna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nätutvecklingsplanern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?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7D56F7A-012C-529B-6D4E-20B8D2207548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6096000" y="1187338"/>
            <a:ext cx="6000" cy="50274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441C504-4A4D-2C8A-CEB0-19B1066BAB3D}"/>
              </a:ext>
            </a:extLst>
          </p:cNvPr>
          <p:cNvSpPr/>
          <p:nvPr/>
        </p:nvSpPr>
        <p:spPr>
          <a:xfrm>
            <a:off x="311053" y="2439173"/>
            <a:ext cx="1995017" cy="999676"/>
          </a:xfrm>
          <a:prstGeom prst="roundRect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Beskrivning av nuvarande och potentiella flaskhalsar</a:t>
            </a: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A4A36360-F969-8D22-1EC3-D58DE2292734}"/>
              </a:ext>
            </a:extLst>
          </p:cNvPr>
          <p:cNvSpPr/>
          <p:nvPr/>
        </p:nvSpPr>
        <p:spPr>
          <a:xfrm>
            <a:off x="2401489" y="2685942"/>
            <a:ext cx="1278610" cy="488196"/>
          </a:xfrm>
          <a:prstGeom prst="rightArrow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5D795F4-7709-D6C7-73FB-ED1934565CAD}"/>
              </a:ext>
            </a:extLst>
          </p:cNvPr>
          <p:cNvSpPr txBox="1"/>
          <p:nvPr/>
        </p:nvSpPr>
        <p:spPr>
          <a:xfrm>
            <a:off x="1496401" y="3629109"/>
            <a:ext cx="3088786" cy="1323439"/>
          </a:xfrm>
          <a:prstGeom prst="rect">
            <a:avLst/>
          </a:prstGeom>
          <a:noFill/>
          <a:ln>
            <a:solidFill>
              <a:srgbClr val="ED770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Beskrivn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av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vår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planer fö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at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uppfyll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effektbehove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Planerad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investeringa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&amp;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projek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,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Behov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av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flexibilite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.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53C85CA-369C-3A6F-6A7D-9042E71A94FD}"/>
              </a:ext>
            </a:extLst>
          </p:cNvPr>
          <p:cNvSpPr/>
          <p:nvPr/>
        </p:nvSpPr>
        <p:spPr>
          <a:xfrm>
            <a:off x="360000" y="5251085"/>
            <a:ext cx="5410534" cy="930640"/>
          </a:xfrm>
          <a:prstGeom prst="roundRect">
            <a:avLst/>
          </a:prstGeom>
          <a:solidFill>
            <a:srgbClr val="ED770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pic>
        <p:nvPicPr>
          <p:cNvPr id="26" name="Graphic 25" descr="Question Mark with solid fill">
            <a:extLst>
              <a:ext uri="{FF2B5EF4-FFF2-40B4-BE49-F238E27FC236}">
                <a16:creationId xmlns:a16="http://schemas.microsoft.com/office/drawing/2014/main" id="{20B1C75E-CBA6-9B66-9237-B3417813CA7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322617" y="5259749"/>
            <a:ext cx="536586" cy="53658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3D60C5C7-F061-6159-0D51-20A2FCCDA014}"/>
              </a:ext>
            </a:extLst>
          </p:cNvPr>
          <p:cNvSpPr txBox="1"/>
          <p:nvPr/>
        </p:nvSpPr>
        <p:spPr>
          <a:xfrm>
            <a:off x="799469" y="5242367"/>
            <a:ext cx="43903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Utvärder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huruvid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planern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om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fin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räck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till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at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uppfyll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de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prognostiserad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effektbehove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D792FEB-04ED-D971-5995-024619ACA6D4}"/>
              </a:ext>
            </a:extLst>
          </p:cNvPr>
          <p:cNvSpPr txBox="1"/>
          <p:nvPr/>
        </p:nvSpPr>
        <p:spPr>
          <a:xfrm>
            <a:off x="6541477" y="2145323"/>
            <a:ext cx="5187458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82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EF-Book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82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Information om var oc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nä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de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fin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kapacite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å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pecifi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anslutninga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,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82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Konkret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plan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på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kommun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nivå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,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82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Vil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pecifik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planer och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anslutninga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so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ligger till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gru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fö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vå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progno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EF-Book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793043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/>
          <a:lstStyle/>
          <a:p>
            <a:r>
              <a:rPr lang="sv-SE" dirty="0"/>
              <a:t>Vindkraftsplanerin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625850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Jakob Ebner, Länsstyrels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3632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607CD4-70FC-860C-D682-B3E08B727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4858407" cy="1325563"/>
          </a:xfrm>
        </p:spPr>
        <p:txBody>
          <a:bodyPr>
            <a:normAutofit fontScale="90000"/>
          </a:bodyPr>
          <a:lstStyle/>
          <a:p>
            <a:r>
              <a:rPr lang="sv-SE" dirty="0"/>
              <a:t>Regionalt planeringsunderlag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68A96483-6BD3-C6A0-42ED-3C61740329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00800" y="-14725"/>
            <a:ext cx="5791200" cy="5351664"/>
          </a:xfrm>
          <a:prstGeom prst="rect">
            <a:avLst/>
          </a:prstGeom>
        </p:spPr>
      </p:pic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8F9994A7-76EF-F4E4-BCB3-A60210BB810B}"/>
              </a:ext>
            </a:extLst>
          </p:cNvPr>
          <p:cNvSpPr txBox="1">
            <a:spLocks/>
          </p:cNvSpPr>
          <p:nvPr/>
        </p:nvSpPr>
        <p:spPr>
          <a:xfrm>
            <a:off x="838199" y="1825625"/>
            <a:ext cx="5478517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/>
              <a:t>Analys av bra och mycket bra vindlägen</a:t>
            </a:r>
          </a:p>
          <a:p>
            <a:endParaRPr lang="sv-SE" dirty="0"/>
          </a:p>
          <a:p>
            <a:r>
              <a:rPr lang="sv-SE" dirty="0"/>
              <a:t>Statliga och regionala intressen</a:t>
            </a:r>
          </a:p>
          <a:p>
            <a:endParaRPr lang="sv-SE" dirty="0"/>
          </a:p>
          <a:p>
            <a:pPr marL="0" indent="0">
              <a:buNone/>
            </a:pPr>
            <a:r>
              <a:rPr lang="sv-SE" dirty="0"/>
              <a:t>Mål: 10 TWh = 1500 km2</a:t>
            </a:r>
          </a:p>
          <a:p>
            <a:pPr marL="0" indent="0">
              <a:buNone/>
            </a:pPr>
            <a:r>
              <a:rPr lang="sv-SE" dirty="0"/>
              <a:t>Klar: maj 2024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dirty="0"/>
              <a:t>Bra utgångspunkt för kommunala vindbruksplan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41984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tshållare för innehåll 4" descr="En bild som visar skiss, rita, Linjekonst, clipart&#10;&#10;Automatiskt genererad beskrivning">
            <a:extLst>
              <a:ext uri="{FF2B5EF4-FFF2-40B4-BE49-F238E27FC236}">
                <a16:creationId xmlns:a16="http://schemas.microsoft.com/office/drawing/2014/main" id="{8ECD29B4-62F0-7747-9B2F-C4EEAC8BCF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807" r="6319"/>
          <a:stretch/>
        </p:blipFill>
        <p:spPr>
          <a:xfrm>
            <a:off x="9286359" y="1642397"/>
            <a:ext cx="2394267" cy="1971489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F46C1BAF-E7A9-FA65-EADE-B06EC24320A5}"/>
              </a:ext>
            </a:extLst>
          </p:cNvPr>
          <p:cNvSpPr txBox="1">
            <a:spLocks/>
          </p:cNvSpPr>
          <p:nvPr/>
        </p:nvSpPr>
        <p:spPr>
          <a:xfrm>
            <a:off x="2257033" y="731262"/>
            <a:ext cx="9144000" cy="9727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DB6E03"/>
                </a:solidFill>
                <a:latin typeface="Eras Medium ITC" panose="020B0602030504020804" pitchFamily="34" charset="77"/>
                <a:ea typeface="+mj-ea"/>
                <a:cs typeface="+mj-cs"/>
              </a:defRPr>
            </a:lvl1pPr>
          </a:lstStyle>
          <a:p>
            <a:r>
              <a:rPr lang="sv-SE" dirty="0"/>
              <a:t>Utmaningen</a:t>
            </a:r>
          </a:p>
        </p:txBody>
      </p:sp>
      <p:pic>
        <p:nvPicPr>
          <p:cNvPr id="3" name="Platshållare för innehåll 4" descr="En bild som visar rita, skiss, clipart, Linjekonst&#10;&#10;Automatiskt genererad beskrivning">
            <a:extLst>
              <a:ext uri="{FF2B5EF4-FFF2-40B4-BE49-F238E27FC236}">
                <a16:creationId xmlns:a16="http://schemas.microsoft.com/office/drawing/2014/main" id="{E7A0BEA1-06B9-A8B3-14AF-3A651C73C91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984629" y="2573038"/>
            <a:ext cx="5025753" cy="3553700"/>
          </a:xfr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4A56C064-4B49-54C1-2789-EC68694B6EE3}"/>
              </a:ext>
            </a:extLst>
          </p:cNvPr>
          <p:cNvSpPr txBox="1"/>
          <p:nvPr/>
        </p:nvSpPr>
        <p:spPr>
          <a:xfrm>
            <a:off x="892163" y="1931540"/>
            <a:ext cx="5111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1" dirty="0"/>
              <a:t>Grön omställning </a:t>
            </a:r>
            <a:r>
              <a:rPr lang="sv-SE" sz="2000" b="1" dirty="0">
                <a:sym typeface="Wingdings" panose="05000000000000000000" pitchFamily="2" charset="2"/>
              </a:rPr>
              <a:t></a:t>
            </a:r>
            <a:r>
              <a:rPr lang="sv-SE" sz="2800" b="1" dirty="0">
                <a:sym typeface="Wingdings" panose="05000000000000000000" pitchFamily="2" charset="2"/>
              </a:rPr>
              <a:t> elektrifiering</a:t>
            </a:r>
            <a:endParaRPr lang="sv-SE" sz="2800" b="1" dirty="0"/>
          </a:p>
        </p:txBody>
      </p:sp>
      <p:pic>
        <p:nvPicPr>
          <p:cNvPr id="6" name="Bildobjekt 5" descr="En bild som visar lila, violett, symbol, Magenta&#10;&#10;Automatiskt genererad beskrivning">
            <a:extLst>
              <a:ext uri="{FF2B5EF4-FFF2-40B4-BE49-F238E27FC236}">
                <a16:creationId xmlns:a16="http://schemas.microsoft.com/office/drawing/2014/main" id="{68413E49-4717-FBE4-B413-FF024C87C4C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9522" b="20990"/>
          <a:stretch/>
        </p:blipFill>
        <p:spPr>
          <a:xfrm>
            <a:off x="6422796" y="2835664"/>
            <a:ext cx="5143713" cy="3176125"/>
          </a:xfrm>
          <a:prstGeom prst="rect">
            <a:avLst/>
          </a:prstGeom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4A242C37-33EB-E4DA-91AD-454B34D390F4}"/>
              </a:ext>
            </a:extLst>
          </p:cNvPr>
          <p:cNvSpPr txBox="1"/>
          <p:nvPr/>
        </p:nvSpPr>
        <p:spPr>
          <a:xfrm>
            <a:off x="6188468" y="1244139"/>
            <a:ext cx="51113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1" dirty="0"/>
              <a:t>Att inte ta elen för givet!</a:t>
            </a:r>
            <a:br>
              <a:rPr lang="sv-SE" sz="2800" b="1" dirty="0"/>
            </a:br>
            <a:r>
              <a:rPr lang="sv-SE" sz="2000" b="1" dirty="0">
                <a:sym typeface="Wingdings" panose="05000000000000000000" pitchFamily="2" charset="2"/>
              </a:rPr>
              <a:t></a:t>
            </a:r>
            <a:r>
              <a:rPr lang="sv-SE" sz="2800" b="1" dirty="0">
                <a:sym typeface="Wingdings" panose="05000000000000000000" pitchFamily="2" charset="2"/>
              </a:rPr>
              <a:t> </a:t>
            </a:r>
            <a:r>
              <a:rPr lang="sv-SE" sz="2800" b="1" dirty="0"/>
              <a:t>Krävs planering</a:t>
            </a:r>
          </a:p>
        </p:txBody>
      </p:sp>
    </p:spTree>
    <p:extLst>
      <p:ext uri="{BB962C8B-B14F-4D97-AF65-F5344CB8AC3E}">
        <p14:creationId xmlns:p14="http://schemas.microsoft.com/office/powerpoint/2010/main" val="2613012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819E0D39-6F35-8F45-70F6-F01AF378CC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3769" y="59907"/>
            <a:ext cx="5094752" cy="5372117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2F607CD4-70FC-860C-D682-B3E08B727B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8" y="365125"/>
            <a:ext cx="5257801" cy="1325563"/>
          </a:xfrm>
        </p:spPr>
        <p:txBody>
          <a:bodyPr>
            <a:normAutofit/>
          </a:bodyPr>
          <a:lstStyle/>
          <a:p>
            <a:r>
              <a:rPr lang="sv-SE" dirty="0"/>
              <a:t>Landskapskaraktärs-analys Dalarna</a:t>
            </a:r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8F9994A7-76EF-F4E4-BCB3-A60210BB810B}"/>
              </a:ext>
            </a:extLst>
          </p:cNvPr>
          <p:cNvSpPr txBox="1">
            <a:spLocks/>
          </p:cNvSpPr>
          <p:nvPr/>
        </p:nvSpPr>
        <p:spPr>
          <a:xfrm>
            <a:off x="838199" y="2091559"/>
            <a:ext cx="7233746" cy="421464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dirty="0"/>
              <a:t>8 landskapstyper</a:t>
            </a:r>
          </a:p>
          <a:p>
            <a:r>
              <a:rPr lang="sv-SE" dirty="0"/>
              <a:t>37 karaktärsområden</a:t>
            </a:r>
          </a:p>
          <a:p>
            <a:r>
              <a:rPr lang="sv-SE" dirty="0"/>
              <a:t>Inklusive rekommendationer för hållbar</a:t>
            </a:r>
            <a:br>
              <a:rPr lang="sv-SE" dirty="0"/>
            </a:br>
            <a:r>
              <a:rPr lang="sv-SE" dirty="0"/>
              <a:t>utbyggnad av vindkraf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/>
              <a:t>Slutkonferens 8 </a:t>
            </a:r>
            <a:r>
              <a:rPr lang="sv-SE" dirty="0"/>
              <a:t>mars 2024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dirty="0"/>
              <a:t>Bra underlag för att diskutera placering för </a:t>
            </a:r>
            <a:r>
              <a:rPr lang="sv-SE" dirty="0" err="1"/>
              <a:t>solel</a:t>
            </a:r>
            <a:r>
              <a:rPr lang="sv-SE" dirty="0"/>
              <a:t> och vindkraft</a:t>
            </a:r>
          </a:p>
          <a:p>
            <a:pPr marL="0" indent="0">
              <a:buNone/>
            </a:pPr>
            <a:r>
              <a:rPr lang="sv-SE" dirty="0"/>
              <a:t>Möjliggör planering över kommungränser</a:t>
            </a:r>
          </a:p>
          <a:p>
            <a:pPr marL="0" indent="0">
              <a:buNone/>
            </a:pPr>
            <a:r>
              <a:rPr lang="sv-SE" dirty="0"/>
              <a:t>Kräver fördjupningar på kommunal nivå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644525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>
            <a:normAutofit fontScale="90000"/>
          </a:bodyPr>
          <a:lstStyle/>
          <a:p>
            <a:r>
              <a:rPr lang="sv-SE" dirty="0"/>
              <a:t>Uppdatering av regional energi- och klimatstrategi</a:t>
            </a:r>
            <a:br>
              <a:rPr lang="sv-SE" dirty="0"/>
            </a:br>
            <a:r>
              <a:rPr lang="sv-SE" dirty="0"/>
              <a:t>- </a:t>
            </a:r>
            <a:r>
              <a:rPr lang="sv-SE" sz="3600" dirty="0"/>
              <a:t>Regeringsuppdrag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903250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Erik Särnholm, Länsstyrels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074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Regional energi- och klimatstrategi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623B267-EFED-72F2-A867-A3990AF98E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3158797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dirty="0"/>
              <a:t>Regeringsuppdrag till alla länsstyrelser:</a:t>
            </a:r>
          </a:p>
          <a:p>
            <a:r>
              <a:rPr lang="sv-SE" sz="2400" dirty="0"/>
              <a:t>Revidera strategin utifrån nya nationella energimål.</a:t>
            </a:r>
            <a:br>
              <a:rPr lang="sv-SE" sz="2400" dirty="0"/>
            </a:br>
            <a:r>
              <a:rPr lang="sv-SE" sz="1800" dirty="0"/>
              <a:t>- Planeringsmål</a:t>
            </a:r>
            <a:br>
              <a:rPr lang="sv-SE" sz="1800" dirty="0"/>
            </a:br>
            <a:r>
              <a:rPr lang="sv-SE" sz="1800" dirty="0"/>
              <a:t>- Leveranssäkerhetsmål</a:t>
            </a:r>
          </a:p>
          <a:p>
            <a:r>
              <a:rPr lang="sv-SE" sz="2400" dirty="0"/>
              <a:t>Klart senast juni 2025</a:t>
            </a:r>
          </a:p>
        </p:txBody>
      </p:sp>
      <p:sp>
        <p:nvSpPr>
          <p:cNvPr id="4" name="Platshållare för innehåll 2">
            <a:extLst>
              <a:ext uri="{FF2B5EF4-FFF2-40B4-BE49-F238E27FC236}">
                <a16:creationId xmlns:a16="http://schemas.microsoft.com/office/drawing/2014/main" id="{B21CD5D7-0404-E97F-697B-B81E016B9804}"/>
              </a:ext>
            </a:extLst>
          </p:cNvPr>
          <p:cNvSpPr txBox="1">
            <a:spLocks/>
          </p:cNvSpPr>
          <p:nvPr/>
        </p:nvSpPr>
        <p:spPr>
          <a:xfrm>
            <a:off x="7023100" y="1712913"/>
            <a:ext cx="40513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400" b="1" dirty="0"/>
              <a:t>Planen i Dalarna:</a:t>
            </a:r>
          </a:p>
          <a:p>
            <a:r>
              <a:rPr lang="sv-SE" sz="2400" dirty="0"/>
              <a:t>Plan för uppdatering på energi-, klimat- och innovationsrådet i maj</a:t>
            </a:r>
          </a:p>
          <a:p>
            <a:r>
              <a:rPr lang="sv-SE" sz="2400" dirty="0"/>
              <a:t>Uppdatering baserad på de färdplaner som tagits fram. (Konkretisering snarare än omarbetning.)</a:t>
            </a:r>
          </a:p>
          <a:p>
            <a:r>
              <a:rPr lang="sv-SE" sz="2400" dirty="0"/>
              <a:t>Påbörjas efter sommaren 2024. Klart våren 2025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1D650D5F-A25E-E899-5642-19AF2FE7BB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422"/>
          <a:stretch/>
        </p:blipFill>
        <p:spPr>
          <a:xfrm>
            <a:off x="3996997" y="1568288"/>
            <a:ext cx="2902099" cy="3721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885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>
            <a:normAutofit fontScale="90000"/>
          </a:bodyPr>
          <a:lstStyle/>
          <a:p>
            <a:r>
              <a:rPr lang="sv-SE" sz="4900" dirty="0"/>
              <a:t>Regional handlingsplan för elektrifiering</a:t>
            </a:r>
            <a:br>
              <a:rPr lang="sv-SE" dirty="0"/>
            </a:br>
            <a:r>
              <a:rPr lang="sv-SE" dirty="0"/>
              <a:t>- </a:t>
            </a:r>
            <a:r>
              <a:rPr lang="sv-SE" sz="4400" dirty="0"/>
              <a:t>Regeringsuppdrag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944347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Erik Särnholm, Länsstyrels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305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Handlingsplan för elektrifiering</a:t>
            </a:r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22D2AE0F-03BE-4981-0619-C437302A06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3158797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dirty="0"/>
              <a:t>Regeringsuppdrag till alla länsstyrelser:</a:t>
            </a:r>
          </a:p>
          <a:p>
            <a:r>
              <a:rPr lang="sv-SE" sz="2400" dirty="0"/>
              <a:t>Ta fram regionala handlingsplaner för elektrifiering</a:t>
            </a:r>
          </a:p>
          <a:p>
            <a:r>
              <a:rPr lang="sv-SE" sz="2400" dirty="0"/>
              <a:t>Klart senast mars 2026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F11F26F-E8BC-44E7-BB76-9B580D7849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6997" y="1396895"/>
            <a:ext cx="2883048" cy="4064209"/>
          </a:xfrm>
          <a:prstGeom prst="rect">
            <a:avLst/>
          </a:prstGeom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F37DB984-1256-8769-26A6-04BF47483837}"/>
              </a:ext>
            </a:extLst>
          </p:cNvPr>
          <p:cNvSpPr txBox="1"/>
          <p:nvPr/>
        </p:nvSpPr>
        <p:spPr>
          <a:xfrm>
            <a:off x="3996997" y="5676900"/>
            <a:ext cx="2883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/>
              <a:t>Framtagen 2020-2021</a:t>
            </a:r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CC977581-DD4B-66AE-3441-5F54FA1B5794}"/>
              </a:ext>
            </a:extLst>
          </p:cNvPr>
          <p:cNvSpPr txBox="1">
            <a:spLocks/>
          </p:cNvSpPr>
          <p:nvPr/>
        </p:nvSpPr>
        <p:spPr>
          <a:xfrm>
            <a:off x="7023100" y="1712913"/>
            <a:ext cx="4330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400" b="1" dirty="0"/>
              <a:t>Planen i Dalarna:</a:t>
            </a:r>
          </a:p>
          <a:p>
            <a:r>
              <a:rPr lang="sv-SE" sz="2400" dirty="0"/>
              <a:t>Planen för ”Trygg fossilfri elförsörjning” </a:t>
            </a:r>
            <a:br>
              <a:rPr lang="sv-SE" sz="2400" dirty="0"/>
            </a:br>
            <a:r>
              <a:rPr lang="sv-SE" sz="2400" dirty="0"/>
              <a:t>och  </a:t>
            </a:r>
            <a:br>
              <a:rPr lang="sv-SE" sz="2400" dirty="0"/>
            </a:br>
            <a:r>
              <a:rPr lang="sv-SE" sz="2400" dirty="0"/>
              <a:t>”Färdplanen för smarta energisystem” motsvarar tillsammans uppdraget.</a:t>
            </a:r>
          </a:p>
          <a:p>
            <a:r>
              <a:rPr lang="sv-SE" sz="2400" dirty="0" err="1"/>
              <a:t>Ev</a:t>
            </a:r>
            <a:r>
              <a:rPr lang="sv-SE" sz="2400" dirty="0"/>
              <a:t> behov uppdatera/ utveckla 2025-2026.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68532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dirty="0"/>
              <a:t>Stöd till och främja samverkan mellan kommuner och andra lokala och regionala aktörer  </a:t>
            </a:r>
            <a:br>
              <a:rPr lang="sv-SE" dirty="0"/>
            </a:br>
            <a:r>
              <a:rPr lang="sv-SE" dirty="0"/>
              <a:t>- </a:t>
            </a:r>
            <a:r>
              <a:rPr lang="sv-SE" sz="4400" dirty="0"/>
              <a:t>Regeringsuppdrag</a:t>
            </a:r>
            <a:br>
              <a:rPr lang="sv-SE" sz="4400" b="1" dirty="0">
                <a:solidFill>
                  <a:schemeClr val="tx1"/>
                </a:solidFill>
              </a:rPr>
            </a:b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4355314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Erik Särnholm, Länsstyrels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8159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Stöd till kommuner och samverkan</a:t>
            </a:r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55B2E1FD-3587-97CC-873D-0FDCA977E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3401769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dirty="0"/>
              <a:t>Regeringsuppdrag till alla länsstyrelser:</a:t>
            </a:r>
          </a:p>
          <a:p>
            <a:r>
              <a:rPr lang="sv-SE" sz="2400" dirty="0"/>
              <a:t>E</a:t>
            </a:r>
            <a:r>
              <a:rPr lang="sv-SE" sz="2400" b="0" i="0" u="none" strike="noStrike" baseline="0" dirty="0"/>
              <a:t>rbjuda stöd till och främja samverkan mellan kommuner och andra lokala och regionala aktörer i arbetet med energi-planering och klimatåtgärder.</a:t>
            </a:r>
            <a:endParaRPr lang="sv-SE" sz="2400" dirty="0"/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768DDDC7-C167-EAD8-8DF2-B60BC6A4433E}"/>
              </a:ext>
            </a:extLst>
          </p:cNvPr>
          <p:cNvSpPr txBox="1">
            <a:spLocks/>
          </p:cNvSpPr>
          <p:nvPr/>
        </p:nvSpPr>
        <p:spPr>
          <a:xfrm>
            <a:off x="6896100" y="1712913"/>
            <a:ext cx="4597400" cy="4779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400" b="1" dirty="0"/>
              <a:t>Planen/ambitionen i Dalarna:</a:t>
            </a:r>
          </a:p>
          <a:p>
            <a:r>
              <a:rPr lang="sv-SE" sz="2400" dirty="0"/>
              <a:t>Regional samverkan</a:t>
            </a:r>
            <a:br>
              <a:rPr lang="sv-SE" sz="2400" b="1" dirty="0"/>
            </a:br>
            <a:r>
              <a:rPr lang="sv-SE" sz="2400" b="1" dirty="0">
                <a:sym typeface="Wingdings" panose="05000000000000000000" pitchFamily="2" charset="2"/>
              </a:rPr>
              <a:t> </a:t>
            </a:r>
            <a:r>
              <a:rPr lang="sv-SE" sz="2400" dirty="0"/>
              <a:t>Fortsätta driva EFFEKT4Dalarna</a:t>
            </a:r>
          </a:p>
          <a:p>
            <a:r>
              <a:rPr lang="sv-SE" sz="2400" dirty="0"/>
              <a:t>Stöd till kommuner</a:t>
            </a:r>
            <a:br>
              <a:rPr lang="sv-SE" sz="2400" dirty="0"/>
            </a:br>
            <a:r>
              <a:rPr lang="sv-SE" sz="2400" dirty="0">
                <a:sym typeface="Wingdings" panose="05000000000000000000" pitchFamily="2" charset="2"/>
              </a:rPr>
              <a:t> </a:t>
            </a:r>
            <a:r>
              <a:rPr lang="sv-SE" sz="2400" dirty="0"/>
              <a:t>Faktaunderlag (bryta ner balansbilder till kommunal nivå). Start höst 2024.</a:t>
            </a:r>
          </a:p>
          <a:p>
            <a:r>
              <a:rPr lang="sv-SE" sz="2400" dirty="0"/>
              <a:t>Samverkan kommuner</a:t>
            </a:r>
            <a:br>
              <a:rPr lang="sv-SE" sz="2400" dirty="0"/>
            </a:br>
            <a:r>
              <a:rPr lang="sv-SE" sz="2400" dirty="0">
                <a:sym typeface="Wingdings" panose="05000000000000000000" pitchFamily="2" charset="2"/>
              </a:rPr>
              <a:t> </a:t>
            </a:r>
            <a:r>
              <a:rPr lang="sv-SE" sz="2400" dirty="0"/>
              <a:t>Processtöd energiplaner och energi- och klimatstrategier.</a:t>
            </a:r>
            <a:endParaRPr lang="sv-SE" dirty="0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ADC4CE3C-FF2E-7573-E3A1-ECCDB15F9B56}"/>
              </a:ext>
            </a:extLst>
          </p:cNvPr>
          <p:cNvSpPr txBox="1"/>
          <p:nvPr/>
        </p:nvSpPr>
        <p:spPr>
          <a:xfrm>
            <a:off x="4239969" y="2232159"/>
            <a:ext cx="2540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b="1" dirty="0">
                <a:solidFill>
                  <a:schemeClr val="accent4">
                    <a:lumMod val="75000"/>
                  </a:schemeClr>
                </a:solidFill>
                <a:latin typeface="ADLaM Display" panose="020B0604020202020204" pitchFamily="2" charset="0"/>
                <a:ea typeface="ADLaM Display" panose="020B0604020202020204" pitchFamily="2" charset="0"/>
                <a:cs typeface="ADLaM Display" panose="020B0604020202020204" pitchFamily="2" charset="0"/>
              </a:rPr>
              <a:t>EFFEKT4Dalarna</a:t>
            </a:r>
          </a:p>
        </p:txBody>
      </p:sp>
    </p:spTree>
    <p:extLst>
      <p:ext uri="{BB962C8B-B14F-4D97-AF65-F5344CB8AC3E}">
        <p14:creationId xmlns:p14="http://schemas.microsoft.com/office/powerpoint/2010/main" val="26911213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49" y="2103437"/>
            <a:ext cx="9918629" cy="1325563"/>
          </a:xfrm>
        </p:spPr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sz="4900" dirty="0"/>
              <a:t>Lagen om kommunal energiplanering  </a:t>
            </a:r>
            <a:br>
              <a:rPr lang="sv-SE" sz="4900" b="1" dirty="0">
                <a:solidFill>
                  <a:schemeClr val="tx1"/>
                </a:solidFill>
              </a:rPr>
            </a:br>
            <a:endParaRPr lang="sv-SE" sz="49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625850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Marit Ragnarsson, Länsstyrels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3739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Lagen om kommunal energiplanering</a:t>
            </a:r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55B2E1FD-3587-97CC-873D-0FDCA977E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240478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dirty="0"/>
              <a:t>Lagkrav:</a:t>
            </a:r>
          </a:p>
          <a:p>
            <a:r>
              <a:rPr lang="sv-SE" sz="2400" dirty="0"/>
              <a:t>” I varje kommun skall det finnas en aktuell plan för tillförsel, distribution och användning av energi i kommunen.”</a:t>
            </a:r>
            <a:br>
              <a:rPr lang="sv-SE" sz="2400" dirty="0"/>
            </a:br>
            <a:endParaRPr lang="sv-SE" sz="2400" dirty="0"/>
          </a:p>
          <a:p>
            <a:r>
              <a:rPr lang="sv-SE" sz="2400" dirty="0"/>
              <a:t>Vägledning från Energimyndigheten klar i juni 2024.</a:t>
            </a:r>
            <a:br>
              <a:rPr lang="sv-SE" sz="2400" dirty="0"/>
            </a:br>
            <a:endParaRPr lang="sv-SE" sz="2400" dirty="0"/>
          </a:p>
          <a:p>
            <a:r>
              <a:rPr lang="sv-SE" sz="2400" dirty="0"/>
              <a:t>Aktivitet i projektet EFFEKT4Dalarna: Vägledning till Dalarnas kommuner för vad en energiplan bör innehålla, inklusive goda exempel.</a:t>
            </a:r>
          </a:p>
          <a:p>
            <a:endParaRPr lang="sv-SE" sz="2400" dirty="0"/>
          </a:p>
          <a:p>
            <a:pPr marL="0" indent="0">
              <a:buNone/>
            </a:pP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40115236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Innehåll?</a:t>
            </a:r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55B2E1FD-3587-97CC-873D-0FDCA977E5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54385"/>
            <a:ext cx="4064001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b="1" dirty="0"/>
              <a:t>Energi- och klimatstrategi</a:t>
            </a:r>
          </a:p>
          <a:p>
            <a:pPr marL="0" indent="0">
              <a:buNone/>
            </a:pPr>
            <a:r>
              <a:rPr lang="sv-SE" sz="2400" dirty="0"/>
              <a:t>En strategi för hur de övergripande energi- och klimatmålen ska nås.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768DDDC7-C167-EAD8-8DF2-B60BC6A4433E}"/>
              </a:ext>
            </a:extLst>
          </p:cNvPr>
          <p:cNvSpPr txBox="1">
            <a:spLocks/>
          </p:cNvSpPr>
          <p:nvPr/>
        </p:nvSpPr>
        <p:spPr>
          <a:xfrm>
            <a:off x="5838940" y="1464654"/>
            <a:ext cx="5113312" cy="423750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400" b="1" dirty="0"/>
              <a:t>Energiplan </a:t>
            </a:r>
            <a:br>
              <a:rPr lang="sv-SE" sz="2400" b="1" dirty="0"/>
            </a:br>
            <a:r>
              <a:rPr lang="sv-SE" sz="2400" b="1" dirty="0"/>
              <a:t>(enligt lagen om kommunal energiplanering)</a:t>
            </a:r>
          </a:p>
          <a:p>
            <a:pPr marL="0" indent="0">
              <a:buNone/>
            </a:pPr>
            <a:r>
              <a:rPr lang="sv-SE" sz="2400" dirty="0"/>
              <a:t>En konkret plan för att säkra kommunens energiförsörjning. </a:t>
            </a:r>
          </a:p>
          <a:p>
            <a:pPr marL="0" indent="0">
              <a:buNone/>
            </a:pPr>
            <a:r>
              <a:rPr lang="sv-SE" sz="2400" dirty="0"/>
              <a:t>Beräkna behov och hur behoven behöver tillgodoses.</a:t>
            </a:r>
            <a:br>
              <a:rPr lang="sv-SE" sz="2400" dirty="0"/>
            </a:br>
            <a:r>
              <a:rPr lang="sv-SE" sz="2400" dirty="0"/>
              <a:t>- tillförsel</a:t>
            </a:r>
            <a:br>
              <a:rPr lang="sv-SE" sz="2400" dirty="0"/>
            </a:br>
            <a:r>
              <a:rPr lang="sv-SE" sz="2400" dirty="0"/>
              <a:t>- distribution</a:t>
            </a:r>
            <a:br>
              <a:rPr lang="sv-SE" sz="2400" dirty="0"/>
            </a:br>
            <a:r>
              <a:rPr lang="sv-SE" sz="2400" dirty="0"/>
              <a:t>- användning</a:t>
            </a:r>
          </a:p>
          <a:p>
            <a:pPr marL="0" indent="0">
              <a:buNone/>
            </a:pPr>
            <a:r>
              <a:rPr lang="sv-SE" sz="2400" dirty="0"/>
              <a:t>Liknande handlingsplan för elektrifiering.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73981BE-FE07-0FA4-CADC-CCB899DE79C9}"/>
              </a:ext>
            </a:extLst>
          </p:cNvPr>
          <p:cNvSpPr txBox="1">
            <a:spLocks/>
          </p:cNvSpPr>
          <p:nvPr/>
        </p:nvSpPr>
        <p:spPr>
          <a:xfrm>
            <a:off x="838200" y="5702157"/>
            <a:ext cx="9576513" cy="523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400" dirty="0"/>
              <a:t>Kan </a:t>
            </a:r>
            <a:r>
              <a:rPr lang="sv-SE" sz="2400" dirty="0" err="1"/>
              <a:t>ev</a:t>
            </a:r>
            <a:r>
              <a:rPr lang="sv-SE" sz="2400" dirty="0"/>
              <a:t> även vara samma dokument.</a:t>
            </a:r>
          </a:p>
        </p:txBody>
      </p:sp>
    </p:spTree>
    <p:extLst>
      <p:ext uri="{BB962C8B-B14F-4D97-AF65-F5344CB8AC3E}">
        <p14:creationId xmlns:p14="http://schemas.microsoft.com/office/powerpoint/2010/main" val="33236647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>
            <a:extLst>
              <a:ext uri="{FF2B5EF4-FFF2-40B4-BE49-F238E27FC236}">
                <a16:creationId xmlns:a16="http://schemas.microsoft.com/office/drawing/2014/main" id="{F46C1BAF-E7A9-FA65-EADE-B06EC24320A5}"/>
              </a:ext>
            </a:extLst>
          </p:cNvPr>
          <p:cNvSpPr txBox="1">
            <a:spLocks/>
          </p:cNvSpPr>
          <p:nvPr/>
        </p:nvSpPr>
        <p:spPr>
          <a:xfrm>
            <a:off x="2257033" y="731262"/>
            <a:ext cx="9144000" cy="9727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DB6E03"/>
                </a:solidFill>
                <a:latin typeface="Eras Medium ITC" panose="020B0602030504020804" pitchFamily="34" charset="77"/>
                <a:ea typeface="+mj-ea"/>
                <a:cs typeface="+mj-cs"/>
              </a:defRPr>
            </a:lvl1pPr>
          </a:lstStyle>
          <a:p>
            <a:r>
              <a:rPr lang="sv-SE" dirty="0"/>
              <a:t>EFFEKT4Dalarna</a:t>
            </a:r>
            <a:br>
              <a:rPr lang="sv-SE" dirty="0"/>
            </a:br>
            <a:r>
              <a:rPr lang="sv-SE" sz="3600" dirty="0"/>
              <a:t>- en förutsättning för Dalarnas välstånd</a:t>
            </a:r>
            <a:endParaRPr lang="sv-SE" dirty="0"/>
          </a:p>
        </p:txBody>
      </p:sp>
      <p:sp>
        <p:nvSpPr>
          <p:cNvPr id="5" name="Underrubrik 2">
            <a:extLst>
              <a:ext uri="{FF2B5EF4-FFF2-40B4-BE49-F238E27FC236}">
                <a16:creationId xmlns:a16="http://schemas.microsoft.com/office/drawing/2014/main" id="{98C8C538-95AA-FD52-D12C-3589A0E563E1}"/>
              </a:ext>
            </a:extLst>
          </p:cNvPr>
          <p:cNvSpPr txBox="1">
            <a:spLocks/>
          </p:cNvSpPr>
          <p:nvPr/>
        </p:nvSpPr>
        <p:spPr>
          <a:xfrm>
            <a:off x="2257033" y="2112189"/>
            <a:ext cx="9644438" cy="631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sv-SE" dirty="0"/>
              <a:t>Ett </a:t>
            </a:r>
            <a:r>
              <a:rPr lang="sv-SE" dirty="0" err="1"/>
              <a:t>samverkansforum</a:t>
            </a:r>
            <a:r>
              <a:rPr lang="sv-SE" dirty="0"/>
              <a:t> för elförsörjning </a:t>
            </a:r>
            <a:r>
              <a:rPr lang="sv-SE" u="sng" dirty="0"/>
              <a:t>och</a:t>
            </a:r>
            <a:r>
              <a:rPr lang="sv-SE" dirty="0"/>
              <a:t> ett projekt.</a:t>
            </a:r>
            <a:endParaRPr lang="sv-SE" sz="4500" dirty="0"/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E8743E8-1C42-069E-D745-F359CEA7DE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5764"/>
          <a:stretch/>
        </p:blipFill>
        <p:spPr>
          <a:xfrm>
            <a:off x="3814095" y="2969231"/>
            <a:ext cx="4903691" cy="3066677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3BFA4780-BF24-3D82-A2A3-8EC7AE1AB31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4909"/>
          <a:stretch/>
        </p:blipFill>
        <p:spPr>
          <a:xfrm>
            <a:off x="8471207" y="4253500"/>
            <a:ext cx="3213384" cy="1670727"/>
          </a:xfrm>
          <a:prstGeom prst="rect">
            <a:avLst/>
          </a:prstGeom>
        </p:spPr>
      </p:pic>
      <p:sp>
        <p:nvSpPr>
          <p:cNvPr id="11" name="Underrubrik 2">
            <a:extLst>
              <a:ext uri="{FF2B5EF4-FFF2-40B4-BE49-F238E27FC236}">
                <a16:creationId xmlns:a16="http://schemas.microsoft.com/office/drawing/2014/main" id="{7B4F97B4-2D26-06E1-A010-2009F325F740}"/>
              </a:ext>
            </a:extLst>
          </p:cNvPr>
          <p:cNvSpPr txBox="1">
            <a:spLocks/>
          </p:cNvSpPr>
          <p:nvPr/>
        </p:nvSpPr>
        <p:spPr>
          <a:xfrm>
            <a:off x="891762" y="3425377"/>
            <a:ext cx="3156256" cy="4962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sv-SE" sz="2000" dirty="0"/>
              <a:t>Projekt EFFEKT4Dalarna:</a:t>
            </a:r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  <a:p>
            <a:pPr marL="0" indent="0">
              <a:lnSpc>
                <a:spcPct val="110000"/>
              </a:lnSpc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8080417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sz="4900" dirty="0"/>
              <a:t>Beredskapsplanering </a:t>
            </a:r>
            <a:br>
              <a:rPr lang="sv-SE" sz="4900" b="1" dirty="0">
                <a:solidFill>
                  <a:schemeClr val="tx1"/>
                </a:solidFill>
              </a:rPr>
            </a:b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625850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?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4909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sz="4900" dirty="0"/>
              <a:t>Fysisk planering </a:t>
            </a:r>
            <a:br>
              <a:rPr lang="sv-SE" sz="4400" b="1" dirty="0">
                <a:solidFill>
                  <a:schemeClr val="tx1"/>
                </a:solidFill>
              </a:rPr>
            </a:b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625850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Linda Sjögren, Region Dalarna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5677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ysisk planering</a:t>
            </a:r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E846CD84-1076-96C4-BA0A-B7BEFB3E69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3451" y="5369903"/>
            <a:ext cx="4723462" cy="651234"/>
          </a:xfrm>
        </p:spPr>
        <p:txBody>
          <a:bodyPr/>
          <a:lstStyle/>
          <a:p>
            <a:pPr marL="0" indent="0">
              <a:buNone/>
            </a:pPr>
            <a:r>
              <a:rPr lang="sv-SE" dirty="0"/>
              <a:t>Kunskap och dialog</a:t>
            </a: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E3F6F8BC-215C-C06D-9C91-72F434DED7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79" y="1690688"/>
            <a:ext cx="6157481" cy="3463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Bildobjekt 19">
            <a:extLst>
              <a:ext uri="{FF2B5EF4-FFF2-40B4-BE49-F238E27FC236}">
                <a16:creationId xmlns:a16="http://schemas.microsoft.com/office/drawing/2014/main" id="{2CAA7E67-758B-4A89-2DAF-8436B5E379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131"/>
          <a:stretch/>
        </p:blipFill>
        <p:spPr>
          <a:xfrm>
            <a:off x="6600115" y="1886552"/>
            <a:ext cx="5552865" cy="3206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1630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/>
          <a:lstStyle/>
          <a:p>
            <a:r>
              <a:rPr lang="sv-SE" dirty="0"/>
              <a:t>EFFEKT4Dalarna, genomförandeprojek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769686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Linda Varga, </a:t>
            </a:r>
            <a:r>
              <a:rPr lang="sv-SE" dirty="0" err="1"/>
              <a:t>High</a:t>
            </a:r>
            <a:r>
              <a:rPr lang="sv-SE" dirty="0"/>
              <a:t> </a:t>
            </a:r>
            <a:r>
              <a:rPr lang="sv-SE" dirty="0" err="1"/>
              <a:t>Voltage</a:t>
            </a:r>
            <a:r>
              <a:rPr lang="sv-SE" dirty="0"/>
              <a:t> </a:t>
            </a:r>
            <a:r>
              <a:rPr lang="sv-SE" dirty="0" err="1"/>
              <a:t>Valley</a:t>
            </a:r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2394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Projektplan</a:t>
            </a:r>
          </a:p>
        </p:txBody>
      </p:sp>
      <p:sp>
        <p:nvSpPr>
          <p:cNvPr id="3" name="Platshållare för innehåll 1">
            <a:extLst>
              <a:ext uri="{FF2B5EF4-FFF2-40B4-BE49-F238E27FC236}">
                <a16:creationId xmlns:a16="http://schemas.microsoft.com/office/drawing/2014/main" id="{48F2F434-FD83-C25D-A527-0E3477544804}"/>
              </a:ext>
            </a:extLst>
          </p:cNvPr>
          <p:cNvSpPr txBox="1">
            <a:spLocks/>
          </p:cNvSpPr>
          <p:nvPr/>
        </p:nvSpPr>
        <p:spPr>
          <a:xfrm>
            <a:off x="1927185" y="1587946"/>
            <a:ext cx="7776864" cy="452543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lvl="1" indent="0">
              <a:buFont typeface="Arial" panose="020B0604020202020204" pitchFamily="34" charset="0"/>
              <a:buNone/>
            </a:pPr>
            <a:r>
              <a:rPr lang="sv-SE" sz="28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P 1 	</a:t>
            </a:r>
            <a:r>
              <a:rPr lang="sv-SE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edning, samordning, kunskapshöjning &amp; omvärldsbevakning</a:t>
            </a:r>
          </a:p>
          <a:p>
            <a:pPr marL="400050" lvl="1" indent="0">
              <a:buFont typeface="Arial" panose="020B0604020202020204" pitchFamily="34" charset="0"/>
              <a:buNone/>
            </a:pPr>
            <a:r>
              <a:rPr lang="sv-SE" sz="28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P 2 </a:t>
            </a:r>
            <a:r>
              <a:rPr lang="sv-SE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	Kartläggningar av </a:t>
            </a:r>
            <a:r>
              <a:rPr lang="sv-SE" sz="2800" dirty="0" err="1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flex</a:t>
            </a:r>
            <a:r>
              <a:rPr lang="sv-SE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-tjänster</a:t>
            </a:r>
          </a:p>
          <a:p>
            <a:pPr marL="400050" lvl="1" indent="0">
              <a:buFont typeface="Arial" panose="020B0604020202020204" pitchFamily="34" charset="0"/>
              <a:buNone/>
            </a:pPr>
            <a:r>
              <a:rPr lang="sv-SE" sz="28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P 3 	</a:t>
            </a:r>
            <a:r>
              <a:rPr lang="sv-SE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etodutveckling genom piloter</a:t>
            </a:r>
          </a:p>
          <a:p>
            <a:pPr lvl="1">
              <a:spcAft>
                <a:spcPts val="600"/>
              </a:spcAft>
            </a:pPr>
            <a:r>
              <a:rPr lang="sv-SE" sz="1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Lokal elproduktion</a:t>
            </a:r>
            <a:endParaRPr lang="sv-SE" sz="1400" dirty="0">
              <a:latin typeface="Georgia" panose="020405020504050203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>
              <a:spcAft>
                <a:spcPts val="600"/>
              </a:spcAft>
            </a:pPr>
            <a:r>
              <a:rPr lang="sv-SE" sz="1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Data från elmätare</a:t>
            </a:r>
            <a:endParaRPr lang="sv-SE" sz="1400" dirty="0">
              <a:latin typeface="Georgia" panose="020405020504050203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>
              <a:spcAft>
                <a:spcPts val="600"/>
              </a:spcAft>
            </a:pPr>
            <a:r>
              <a:rPr lang="sv-SE" sz="1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Information om värmepumpar och elbilsladdare</a:t>
            </a:r>
            <a:endParaRPr lang="sv-SE" sz="1400" dirty="0">
              <a:latin typeface="Georgia" panose="020405020504050203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>
              <a:spcAft>
                <a:spcPts val="600"/>
              </a:spcAft>
            </a:pPr>
            <a:r>
              <a:rPr lang="sv-SE" sz="1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Nya tariffmodeller</a:t>
            </a:r>
            <a:endParaRPr lang="sv-SE" sz="1400" dirty="0">
              <a:latin typeface="Georgia" panose="020405020504050203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>
              <a:spcAft>
                <a:spcPts val="600"/>
              </a:spcAft>
            </a:pPr>
            <a:r>
              <a:rPr lang="sv-SE" sz="14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Produktionsstyrningsavtal</a:t>
            </a:r>
            <a:endParaRPr lang="sv-SE" sz="1400" dirty="0">
              <a:latin typeface="Georgia" panose="02040502050405020303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/>
            <a:r>
              <a:rPr lang="sv-SE" sz="1400" b="1" dirty="0">
                <a:ea typeface="Times New Roman" panose="02020603050405020304" pitchFamily="18" charset="0"/>
              </a:rPr>
              <a:t>Laststyrningsavtal</a:t>
            </a:r>
            <a:endParaRPr lang="sv-SE" dirty="0"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00050" lvl="1" indent="0">
              <a:buFont typeface="Arial" panose="020B0604020202020204" pitchFamily="34" charset="0"/>
              <a:buNone/>
            </a:pPr>
            <a:r>
              <a:rPr lang="sv-SE" sz="28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P 4 </a:t>
            </a:r>
            <a:r>
              <a:rPr lang="sv-SE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	Samskapad energiplanering Scenarier och prognosverktyg, Nätplanering</a:t>
            </a:r>
          </a:p>
          <a:p>
            <a:pPr marL="400050" lvl="1" indent="0">
              <a:buFont typeface="Arial" panose="020B0604020202020204" pitchFamily="34" charset="0"/>
              <a:buNone/>
            </a:pPr>
            <a:r>
              <a:rPr lang="sv-SE" sz="2800" b="1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P 5 	</a:t>
            </a:r>
            <a:r>
              <a:rPr lang="sv-SE" sz="2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Energi- och effekthushållning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028818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>
            <a:normAutofit/>
          </a:bodyPr>
          <a:lstStyle/>
          <a:p>
            <a:r>
              <a:rPr lang="sv-SE" sz="8000" dirty="0"/>
              <a:t>Så får vi ihop det…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390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Aktiviteter 2024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ABECDE5-638A-0C5A-84DF-39C6DFEA1F4F}"/>
              </a:ext>
            </a:extLst>
          </p:cNvPr>
          <p:cNvSpPr txBox="1">
            <a:spLocks/>
          </p:cNvSpPr>
          <p:nvPr/>
        </p:nvSpPr>
        <p:spPr>
          <a:xfrm>
            <a:off x="838200" y="1507933"/>
            <a:ext cx="5593422" cy="4691064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sv-SE" sz="2600" b="1" dirty="0"/>
              <a:t>Plan för VÅREN 2024</a:t>
            </a:r>
            <a:br>
              <a:rPr lang="sv-SE" sz="2600" b="1" dirty="0"/>
            </a:br>
            <a:endParaRPr lang="sv-SE" sz="1800" b="1" dirty="0"/>
          </a:p>
          <a:p>
            <a:pPr marL="0" indent="0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sv-SE" sz="2300" b="1" dirty="0"/>
              <a:t>EFFEKT4Dalarna genomförande</a:t>
            </a:r>
          </a:p>
          <a:p>
            <a:pPr>
              <a:lnSpc>
                <a:spcPct val="110000"/>
              </a:lnSpc>
              <a:spcBef>
                <a:spcPts val="300"/>
              </a:spcBef>
              <a:buFontTx/>
              <a:buChar char="-"/>
            </a:pPr>
            <a:r>
              <a:rPr lang="sv-SE" sz="2300" dirty="0"/>
              <a:t>Nätplanering, flexibilitet, utvecklingsarbete</a:t>
            </a:r>
          </a:p>
          <a:p>
            <a:pPr>
              <a:lnSpc>
                <a:spcPct val="110000"/>
              </a:lnSpc>
              <a:spcBef>
                <a:spcPts val="300"/>
              </a:spcBef>
              <a:buFontTx/>
              <a:buChar char="-"/>
            </a:pPr>
            <a:r>
              <a:rPr lang="sv-SE" sz="2300" dirty="0"/>
              <a:t>Nätutvecklingsplaner (input)</a:t>
            </a:r>
            <a:br>
              <a:rPr lang="sv-SE" sz="2300" dirty="0"/>
            </a:br>
            <a:endParaRPr lang="sv-SE" sz="2300" b="1" u="sng" dirty="0"/>
          </a:p>
          <a:p>
            <a:pPr marL="0" indent="0">
              <a:lnSpc>
                <a:spcPct val="110000"/>
              </a:lnSpc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sv-SE" sz="2300" b="1" u="sng" dirty="0"/>
              <a:t>En</a:t>
            </a:r>
            <a:r>
              <a:rPr lang="sv-SE" sz="2300" b="1" dirty="0"/>
              <a:t> strategisk färdplan för Smarta energisystem </a:t>
            </a:r>
            <a:br>
              <a:rPr lang="sv-SE" sz="2300" b="1" dirty="0"/>
            </a:br>
            <a:r>
              <a:rPr lang="sv-SE" sz="2300" b="1" dirty="0"/>
              <a:t>för att fylla flera behov:</a:t>
            </a:r>
          </a:p>
          <a:p>
            <a:pPr>
              <a:lnSpc>
                <a:spcPct val="110000"/>
              </a:lnSpc>
              <a:spcBef>
                <a:spcPts val="300"/>
              </a:spcBef>
              <a:buFontTx/>
              <a:buChar char="-"/>
            </a:pPr>
            <a:r>
              <a:rPr lang="sv-SE" sz="2300" dirty="0"/>
              <a:t>Färdplan för Dalarnas energi- och klimatstrategi</a:t>
            </a:r>
          </a:p>
          <a:p>
            <a:pPr>
              <a:lnSpc>
                <a:spcPct val="110000"/>
              </a:lnSpc>
              <a:spcBef>
                <a:spcPts val="300"/>
              </a:spcBef>
              <a:buFontTx/>
              <a:buChar char="-"/>
            </a:pPr>
            <a:r>
              <a:rPr lang="sv-SE" sz="2300" dirty="0"/>
              <a:t>Färdplan för Dalarnas innovationsstrategi</a:t>
            </a:r>
          </a:p>
          <a:p>
            <a:pPr>
              <a:lnSpc>
                <a:spcPct val="110000"/>
              </a:lnSpc>
              <a:spcBef>
                <a:spcPts val="300"/>
              </a:spcBef>
              <a:buFontTx/>
              <a:buChar char="-"/>
            </a:pPr>
            <a:r>
              <a:rPr lang="sv-SE" sz="2300" dirty="0"/>
              <a:t>Konkretisering av Dalarnas energibolags färdplan</a:t>
            </a:r>
          </a:p>
          <a:p>
            <a:pPr>
              <a:lnSpc>
                <a:spcPct val="110000"/>
              </a:lnSpc>
              <a:spcBef>
                <a:spcPts val="300"/>
              </a:spcBef>
              <a:buFontTx/>
              <a:buChar char="-"/>
            </a:pPr>
            <a:r>
              <a:rPr lang="sv-SE" sz="2300" dirty="0"/>
              <a:t>Regional handlingsplan för elektrifiering </a:t>
            </a:r>
          </a:p>
          <a:p>
            <a:pPr>
              <a:lnSpc>
                <a:spcPct val="110000"/>
              </a:lnSpc>
              <a:spcBef>
                <a:spcPts val="300"/>
              </a:spcBef>
              <a:buFont typeface="Wingdings" panose="05000000000000000000" pitchFamily="2" charset="2"/>
              <a:buChar char="à"/>
            </a:pPr>
            <a:r>
              <a:rPr lang="sv-SE" sz="2300" dirty="0">
                <a:sym typeface="Wingdings" panose="05000000000000000000" pitchFamily="2" charset="2"/>
              </a:rPr>
              <a:t>Prognoser för produktion och behov </a:t>
            </a:r>
            <a:br>
              <a:rPr lang="sv-SE" sz="2300" dirty="0">
                <a:sym typeface="Wingdings" panose="05000000000000000000" pitchFamily="2" charset="2"/>
              </a:rPr>
            </a:br>
            <a:r>
              <a:rPr lang="sv-SE" sz="2300" dirty="0">
                <a:sym typeface="Wingdings" panose="05000000000000000000" pitchFamily="2" charset="2"/>
              </a:rPr>
              <a:t>(energi, el och effekt 2030 och 2045) </a:t>
            </a:r>
            <a:br>
              <a:rPr lang="sv-SE" sz="2300" dirty="0">
                <a:sym typeface="Wingdings" panose="05000000000000000000" pitchFamily="2" charset="2"/>
              </a:rPr>
            </a:br>
            <a:r>
              <a:rPr lang="sv-SE" sz="2300" dirty="0">
                <a:sym typeface="Wingdings" panose="05000000000000000000" pitchFamily="2" charset="2"/>
              </a:rPr>
              <a:t>+ Handlingsplan.</a:t>
            </a:r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8391018F-8E12-807E-FCD6-E35A837825B6}"/>
              </a:ext>
            </a:extLst>
          </p:cNvPr>
          <p:cNvSpPr txBox="1">
            <a:spLocks/>
          </p:cNvSpPr>
          <p:nvPr/>
        </p:nvSpPr>
        <p:spPr>
          <a:xfrm>
            <a:off x="6431621" y="2116473"/>
            <a:ext cx="5373385" cy="43085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2438"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sv-SE" sz="1900" b="1" dirty="0">
                <a:sym typeface="Wingdings" panose="05000000000000000000" pitchFamily="2" charset="2"/>
              </a:rPr>
              <a:t>Process för färdplan Smarta energisystem</a:t>
            </a:r>
          </a:p>
          <a:p>
            <a:pPr marL="452438">
              <a:lnSpc>
                <a:spcPct val="110000"/>
              </a:lnSpc>
              <a:spcBef>
                <a:spcPts val="300"/>
              </a:spcBef>
            </a:pPr>
            <a:r>
              <a:rPr lang="sv-SE" sz="1900" dirty="0">
                <a:sym typeface="Wingdings" panose="05000000000000000000" pitchFamily="2" charset="2"/>
              </a:rPr>
              <a:t>Förankring rådet dec 2023</a:t>
            </a:r>
          </a:p>
          <a:p>
            <a:pPr marL="452438">
              <a:lnSpc>
                <a:spcPct val="110000"/>
              </a:lnSpc>
              <a:spcBef>
                <a:spcPts val="300"/>
              </a:spcBef>
            </a:pPr>
            <a:r>
              <a:rPr lang="sv-SE" sz="1900" dirty="0">
                <a:sym typeface="Wingdings" panose="05000000000000000000" pitchFamily="2" charset="2"/>
              </a:rPr>
              <a:t>Dialog VD-gruppen energibolagen</a:t>
            </a:r>
          </a:p>
          <a:p>
            <a:pPr marL="452438">
              <a:lnSpc>
                <a:spcPct val="110000"/>
              </a:lnSpc>
              <a:spcBef>
                <a:spcPts val="300"/>
              </a:spcBef>
            </a:pPr>
            <a:r>
              <a:rPr lang="sv-SE" sz="1900" dirty="0">
                <a:sym typeface="Wingdings" panose="05000000000000000000" pitchFamily="2" charset="2"/>
              </a:rPr>
              <a:t>Samordning innovationsplattformen</a:t>
            </a:r>
          </a:p>
          <a:p>
            <a:pPr marL="452438">
              <a:lnSpc>
                <a:spcPct val="110000"/>
              </a:lnSpc>
              <a:spcBef>
                <a:spcPts val="300"/>
              </a:spcBef>
            </a:pPr>
            <a:r>
              <a:rPr lang="sv-SE" sz="1900" dirty="0">
                <a:sym typeface="Wingdings" panose="05000000000000000000" pitchFamily="2" charset="2"/>
              </a:rPr>
              <a:t>Landshövdingen Strategiskt samtal 22 mars</a:t>
            </a:r>
          </a:p>
          <a:p>
            <a:pPr marL="452438">
              <a:lnSpc>
                <a:spcPct val="110000"/>
              </a:lnSpc>
              <a:spcBef>
                <a:spcPts val="300"/>
              </a:spcBef>
            </a:pPr>
            <a:r>
              <a:rPr lang="sv-SE" sz="1900" dirty="0"/>
              <a:t>Regional konferens och workshop 23 april</a:t>
            </a:r>
            <a:endParaRPr lang="sv-SE" sz="1900" dirty="0">
              <a:sym typeface="Wingdings" panose="05000000000000000000" pitchFamily="2" charset="2"/>
            </a:endParaRPr>
          </a:p>
          <a:p>
            <a:pPr marL="452438">
              <a:lnSpc>
                <a:spcPct val="110000"/>
              </a:lnSpc>
              <a:spcBef>
                <a:spcPts val="300"/>
              </a:spcBef>
            </a:pPr>
            <a:r>
              <a:rPr lang="sv-SE" sz="1900" dirty="0"/>
              <a:t>Råd 23 maj (och 26 </a:t>
            </a:r>
            <a:r>
              <a:rPr lang="sv-SE" sz="1900" dirty="0" err="1"/>
              <a:t>sept</a:t>
            </a:r>
            <a:r>
              <a:rPr lang="sv-SE" sz="1900" dirty="0"/>
              <a:t>).</a:t>
            </a:r>
            <a:br>
              <a:rPr lang="sv-SE" sz="1800" b="1" dirty="0">
                <a:latin typeface="OriginalGaramondBTRoman"/>
              </a:rPr>
            </a:br>
            <a:endParaRPr lang="sv-SE" sz="1800" dirty="0">
              <a:latin typeface="OriginalGaramondBTRoman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2E34811A-61FF-ECE0-7BA6-ED4C810A96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4331" y="365125"/>
            <a:ext cx="909469" cy="90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0430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 descr="Länsstyrelsen Dalarnas logotype.">
            <a:extLst>
              <a:ext uri="{FF2B5EF4-FFF2-40B4-BE49-F238E27FC236}">
                <a16:creationId xmlns:a16="http://schemas.microsoft.com/office/drawing/2014/main" id="{079A9340-3ED9-6B24-417F-FFA5A72830C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151010" y="6342920"/>
            <a:ext cx="848591" cy="400050"/>
          </a:xfrm>
          <a:prstGeom prst="rect">
            <a:avLst/>
          </a:prstGeom>
        </p:spPr>
      </p:pic>
      <p:sp>
        <p:nvSpPr>
          <p:cNvPr id="7" name="Rubrik 1">
            <a:extLst>
              <a:ext uri="{FF2B5EF4-FFF2-40B4-BE49-F238E27FC236}">
                <a16:creationId xmlns:a16="http://schemas.microsoft.com/office/drawing/2014/main" id="{EC18BCC9-33F0-73E7-89E9-8E4279E1EE7B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22736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DB6E03"/>
                </a:solidFill>
                <a:latin typeface="Eras Medium ITC" panose="020B0602030504020804" pitchFamily="34" charset="77"/>
                <a:ea typeface="+mj-ea"/>
                <a:cs typeface="+mj-cs"/>
              </a:defRPr>
            </a:lvl1pPr>
          </a:lstStyle>
          <a:p>
            <a:r>
              <a:rPr lang="sv-SE" sz="3600" dirty="0"/>
              <a:t>Regional energi-</a:t>
            </a:r>
            <a:br>
              <a:rPr lang="sv-SE" sz="3600" dirty="0"/>
            </a:br>
            <a:r>
              <a:rPr lang="sv-SE" sz="3600" dirty="0"/>
              <a:t>konferens 23 april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E1EEEFA1-EFF6-3218-F8B0-768EA79E6B23}"/>
              </a:ext>
            </a:extLst>
          </p:cNvPr>
          <p:cNvSpPr txBox="1"/>
          <p:nvPr/>
        </p:nvSpPr>
        <p:spPr>
          <a:xfrm>
            <a:off x="930668" y="2323974"/>
            <a:ext cx="25317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dirty="0">
                <a:hlinkClick r:id="rId4"/>
              </a:rPr>
              <a:t>www.energiintelligent.se/energisystem/elsystem/effekt4dalarna/</a:t>
            </a:r>
            <a:endParaRPr lang="sv-SE" dirty="0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3CD2561D-591A-4EB5-58F7-6C7ACF1502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7246" y="369332"/>
            <a:ext cx="4412518" cy="6373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16132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Aktiviteter 2024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75C343DB-A80A-3BD2-B42C-358453813379}"/>
              </a:ext>
            </a:extLst>
          </p:cNvPr>
          <p:cNvSpPr txBox="1">
            <a:spLocks/>
          </p:cNvSpPr>
          <p:nvPr/>
        </p:nvSpPr>
        <p:spPr>
          <a:xfrm>
            <a:off x="838200" y="1690688"/>
            <a:ext cx="4919609" cy="469106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400" b="1" dirty="0">
                <a:latin typeface="OriginalGaramondBTRoman"/>
              </a:rPr>
              <a:t>Plan för HÖSTEN 2024</a:t>
            </a:r>
            <a:endParaRPr lang="sv-SE" sz="2400" b="1" dirty="0">
              <a:latin typeface="OriginalGaramondBTRoman"/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r>
              <a:rPr lang="sv-SE" sz="1800" b="1" dirty="0">
                <a:latin typeface="OriginalGaramondBTRoman"/>
              </a:rPr>
              <a:t>EFFEKT4Dalarna genomförande</a:t>
            </a:r>
            <a:br>
              <a:rPr lang="sv-SE" sz="1800" b="1" dirty="0">
                <a:latin typeface="OriginalGaramondBTRoman"/>
              </a:rPr>
            </a:br>
            <a:r>
              <a:rPr lang="sv-SE" sz="1800" b="1" dirty="0">
                <a:latin typeface="OriginalGaramondBTRoman"/>
              </a:rPr>
              <a:t>- </a:t>
            </a:r>
            <a:r>
              <a:rPr lang="sv-SE" sz="1800" dirty="0">
                <a:latin typeface="OriginalGaramondBTRoman"/>
              </a:rPr>
              <a:t>Nätplanering, flexibilitet, utvecklingsarbete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Nätutvecklingsplaner (output/samråd)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Forum för samverkan om elförsörjning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br>
              <a:rPr lang="sv-SE" sz="1800" dirty="0">
                <a:latin typeface="OriginalGaramondBTRoman"/>
              </a:rPr>
            </a:br>
            <a:r>
              <a:rPr lang="sv-SE" sz="1800" b="1" dirty="0">
                <a:latin typeface="OriginalGaramondBTRoman"/>
              </a:rPr>
              <a:t>Uppdatering av regionala energi- och klimatstrategin</a:t>
            </a:r>
            <a:endParaRPr lang="sv-SE" sz="1800" dirty="0">
              <a:latin typeface="OriginalGaramondBTRoman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endParaRPr lang="sv-SE" sz="1800" dirty="0">
              <a:latin typeface="OriginalGaramondBTRoman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r>
              <a:rPr lang="sv-SE" sz="1800" b="1" dirty="0">
                <a:latin typeface="OriginalGaramondBTRoman"/>
              </a:rPr>
              <a:t>Stöd till kommuner från länsstyrelsen (ambition)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Faktaunderlag (energi, el- och effektbalans)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Vindkraftsplanering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Processtöd Lagen om kommunal energiplanering</a:t>
            </a:r>
            <a:br>
              <a:rPr lang="sv-SE" sz="1800" dirty="0">
                <a:latin typeface="OriginalGaramondBTRoman"/>
              </a:rPr>
            </a:br>
            <a:br>
              <a:rPr lang="sv-SE" sz="1200" dirty="0">
                <a:latin typeface="OriginalGaramondBTRoman"/>
              </a:rPr>
            </a:br>
            <a:r>
              <a:rPr lang="sv-SE" sz="1200" dirty="0">
                <a:latin typeface="OriginalGaramondBTRoman"/>
                <a:sym typeface="Wingdings" panose="05000000000000000000" pitchFamily="2" charset="2"/>
              </a:rPr>
              <a:t> </a:t>
            </a:r>
            <a:r>
              <a:rPr lang="sv-SE" sz="1800" dirty="0">
                <a:latin typeface="OriginalGaramondBTRoman"/>
              </a:rPr>
              <a:t>Möjlighet skapa projekt med finansiering Energimyndigheten för kommuner som vill samverka kring energiplanering.</a:t>
            </a:r>
            <a:br>
              <a:rPr lang="sv-SE" sz="1800" dirty="0">
                <a:latin typeface="OriginalGaramondBTRoman"/>
              </a:rPr>
            </a:br>
            <a:endParaRPr lang="sv-SE" sz="1800" dirty="0">
              <a:latin typeface="OriginalGaramondBTRoman"/>
            </a:endParaRPr>
          </a:p>
        </p:txBody>
      </p:sp>
      <p:sp>
        <p:nvSpPr>
          <p:cNvPr id="4" name="Platshållare för innehåll 2">
            <a:extLst>
              <a:ext uri="{FF2B5EF4-FFF2-40B4-BE49-F238E27FC236}">
                <a16:creationId xmlns:a16="http://schemas.microsoft.com/office/drawing/2014/main" id="{8A1A96D5-89F5-20D5-253B-53304CFFC3E7}"/>
              </a:ext>
            </a:extLst>
          </p:cNvPr>
          <p:cNvSpPr txBox="1">
            <a:spLocks/>
          </p:cNvSpPr>
          <p:nvPr/>
        </p:nvSpPr>
        <p:spPr>
          <a:xfrm>
            <a:off x="5940175" y="1690687"/>
            <a:ext cx="4919609" cy="4691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2400" b="1" dirty="0">
                <a:latin typeface="OriginalGaramondBTRoman"/>
              </a:rPr>
              <a:t>Plan för 2025</a:t>
            </a:r>
            <a:endParaRPr lang="sv-SE" sz="2400" b="1" dirty="0">
              <a:latin typeface="OriginalGaramondBTRoman"/>
              <a:sym typeface="Wingdings" panose="05000000000000000000" pitchFamily="2" charset="2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r>
              <a:rPr lang="sv-SE" sz="1800" b="1" dirty="0">
                <a:latin typeface="OriginalGaramondBTRoman"/>
              </a:rPr>
              <a:t>EFFEKT4Dalarna genomförande</a:t>
            </a:r>
            <a:br>
              <a:rPr lang="sv-SE" sz="1800" b="1" dirty="0">
                <a:latin typeface="OriginalGaramondBTRoman"/>
              </a:rPr>
            </a:br>
            <a:r>
              <a:rPr lang="sv-SE" sz="1800" b="1" dirty="0">
                <a:latin typeface="OriginalGaramondBTRoman"/>
              </a:rPr>
              <a:t>- </a:t>
            </a:r>
            <a:r>
              <a:rPr lang="sv-SE" sz="1800" dirty="0">
                <a:latin typeface="OriginalGaramondBTRoman"/>
              </a:rPr>
              <a:t>Nätplanering, flexibilitet, utvecklingsarbete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Forum för samverkan om elförsörjning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br>
              <a:rPr lang="sv-SE" sz="1800" dirty="0">
                <a:latin typeface="OriginalGaramondBTRoman"/>
              </a:rPr>
            </a:br>
            <a:br>
              <a:rPr lang="sv-SE" sz="1800" dirty="0">
                <a:latin typeface="OriginalGaramondBTRoman"/>
              </a:rPr>
            </a:br>
            <a:r>
              <a:rPr lang="sv-SE" sz="1800" b="1" dirty="0">
                <a:latin typeface="OriginalGaramondBTRoman"/>
              </a:rPr>
              <a:t>Samråd och beslut om uppdaterad regional energi- och klimatstrategi</a:t>
            </a:r>
            <a:endParaRPr lang="sv-SE" sz="1800" dirty="0">
              <a:latin typeface="OriginalGaramondBTRoman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endParaRPr lang="sv-SE" sz="1800" b="1" dirty="0">
              <a:latin typeface="OriginalGaramondBTRoman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r>
              <a:rPr lang="sv-SE" sz="1800" b="1" dirty="0">
                <a:latin typeface="OriginalGaramondBTRoman"/>
              </a:rPr>
              <a:t>Stöd till kommuner från länsstyrelsen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Faktaunderlag (energi, el- och effektbalans)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Vindkraftsplanering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Processtöd Lagen om kommunal energiplanering </a:t>
            </a:r>
            <a:br>
              <a:rPr lang="sv-SE" sz="1800" dirty="0">
                <a:latin typeface="OriginalGaramondBTRoman"/>
              </a:rPr>
            </a:br>
            <a:r>
              <a:rPr lang="sv-SE" sz="1800" dirty="0">
                <a:latin typeface="OriginalGaramondBTRoman"/>
              </a:rPr>
              <a:t>- Processtöd energi- och klimatstrategier</a:t>
            </a: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endParaRPr lang="sv-SE" sz="1800" dirty="0">
              <a:latin typeface="OriginalGaramondBTRoman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endParaRPr lang="sv-SE" sz="1800" dirty="0">
              <a:latin typeface="OriginalGaramondBTRoman"/>
            </a:endParaRPr>
          </a:p>
          <a:p>
            <a:pPr marL="0" indent="0">
              <a:lnSpc>
                <a:spcPct val="100000"/>
              </a:lnSpc>
              <a:spcBef>
                <a:spcPts val="300"/>
              </a:spcBef>
              <a:buNone/>
            </a:pPr>
            <a:endParaRPr lang="sv-SE" sz="1800" b="1" dirty="0">
              <a:latin typeface="OriginalGaramondBTRoman"/>
            </a:endParaRP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9DA7A743-5D49-DFA5-DE26-0AC4F338EF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4331" y="365125"/>
            <a:ext cx="909469" cy="90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2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Kommunsammanfattning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9DA7A743-5D49-DFA5-DE26-0AC4F338EF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4331" y="365125"/>
            <a:ext cx="909469" cy="909469"/>
          </a:xfrm>
          <a:prstGeom prst="rect">
            <a:avLst/>
          </a:prstGeom>
        </p:spPr>
      </p:pic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360D921B-371C-79E6-422B-4694285402D2}"/>
              </a:ext>
            </a:extLst>
          </p:cNvPr>
          <p:cNvSpPr txBox="1">
            <a:spLocks/>
          </p:cNvSpPr>
          <p:nvPr/>
        </p:nvSpPr>
        <p:spPr>
          <a:xfrm>
            <a:off x="838200" y="1601789"/>
            <a:ext cx="10288712" cy="43799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sv-SE" sz="2000" b="1" dirty="0">
                <a:sym typeface="Wingdings" panose="05000000000000000000" pitchFamily="2" charset="2"/>
              </a:rPr>
              <a:t>Möjlighete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sv-SE" sz="2000" dirty="0">
                <a:sym typeface="Wingdings" panose="05000000000000000000" pitchFamily="2" charset="2"/>
              </a:rPr>
              <a:t>Nu			Utse ansvariga för energifrågor. Planera för planering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sv-SE" sz="2000" dirty="0">
                <a:sym typeface="Wingdings" panose="05000000000000000000" pitchFamily="2" charset="2"/>
              </a:rPr>
              <a:t>Jan-feb 2024		Ge input om framtida elbehov till lokal elnätägar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sv-SE" sz="2000" dirty="0"/>
              <a:t>Mars-april 2024 	Ge input till regionala färdplanen Smarta energisyste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sv-SE" sz="2000" dirty="0"/>
              <a:t>Okt 2024		Lämna synpunkter på nätutvecklingsplane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sv-SE" sz="2000" dirty="0"/>
              <a:t>Okt 2024 – feb 2025	Delaktiga i uppdatering av regionala energi- och klimatstrategi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sv-SE" sz="2000" dirty="0"/>
              <a:t>F o m höst 2024	Framtagning av plan för lagen om kommunal energiplanering 				ihop med processtöd från länsstyrelsen</a:t>
            </a:r>
            <a:br>
              <a:rPr lang="sv-SE" sz="2000" dirty="0"/>
            </a:br>
            <a:r>
              <a:rPr lang="sv-SE" sz="2000" dirty="0"/>
              <a:t>			Vindkraftsplanering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sv-SE" sz="2000" dirty="0"/>
              <a:t>F o m våren 2025	Uppdatering av kommunala energi- och klimatstrategier ihop med 			processtöd från länsstyrelsen</a:t>
            </a:r>
          </a:p>
        </p:txBody>
      </p:sp>
    </p:spTree>
    <p:extLst>
      <p:ext uri="{BB962C8B-B14F-4D97-AF65-F5344CB8AC3E}">
        <p14:creationId xmlns:p14="http://schemas.microsoft.com/office/powerpoint/2010/main" val="753021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4000" dirty="0"/>
              <a:t>Mycket på gång inom energiplanering….</a:t>
            </a:r>
          </a:p>
        </p:txBody>
      </p:sp>
      <p:sp>
        <p:nvSpPr>
          <p:cNvPr id="18" name="Pratbubbla: rektangel 17">
            <a:extLst>
              <a:ext uri="{FF2B5EF4-FFF2-40B4-BE49-F238E27FC236}">
                <a16:creationId xmlns:a16="http://schemas.microsoft.com/office/drawing/2014/main" id="{84455B36-B7C9-E5F7-F495-8F1936EAC534}"/>
              </a:ext>
            </a:extLst>
          </p:cNvPr>
          <p:cNvSpPr/>
          <p:nvPr/>
        </p:nvSpPr>
        <p:spPr>
          <a:xfrm>
            <a:off x="661011" y="1659552"/>
            <a:ext cx="2819323" cy="642344"/>
          </a:xfrm>
          <a:prstGeom prst="wedgeRectCallout">
            <a:avLst>
              <a:gd name="adj1" fmla="val 64011"/>
              <a:gd name="adj2" fmla="val 13256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Dalarnas energibolags färdplan för energisystem</a:t>
            </a:r>
          </a:p>
        </p:txBody>
      </p:sp>
      <p:sp>
        <p:nvSpPr>
          <p:cNvPr id="19" name="Pratbubbla: rektangel 18">
            <a:extLst>
              <a:ext uri="{FF2B5EF4-FFF2-40B4-BE49-F238E27FC236}">
                <a16:creationId xmlns:a16="http://schemas.microsoft.com/office/drawing/2014/main" id="{03C18BE6-C3DB-75D4-7100-62712CEAB515}"/>
              </a:ext>
            </a:extLst>
          </p:cNvPr>
          <p:cNvSpPr/>
          <p:nvPr/>
        </p:nvSpPr>
        <p:spPr>
          <a:xfrm>
            <a:off x="3995228" y="1661140"/>
            <a:ext cx="2100772" cy="642344"/>
          </a:xfrm>
          <a:prstGeom prst="wedgeRectCallout">
            <a:avLst>
              <a:gd name="adj1" fmla="val -21284"/>
              <a:gd name="adj2" fmla="val 13322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Färdplan för energi- och klimatstrategin</a:t>
            </a:r>
          </a:p>
        </p:txBody>
      </p:sp>
      <p:sp>
        <p:nvSpPr>
          <p:cNvPr id="21" name="Pratbubbla: rektangel 20">
            <a:extLst>
              <a:ext uri="{FF2B5EF4-FFF2-40B4-BE49-F238E27FC236}">
                <a16:creationId xmlns:a16="http://schemas.microsoft.com/office/drawing/2014/main" id="{2B77D3C3-9E27-7F8B-0237-94560244E117}"/>
              </a:ext>
            </a:extLst>
          </p:cNvPr>
          <p:cNvSpPr/>
          <p:nvPr/>
        </p:nvSpPr>
        <p:spPr>
          <a:xfrm>
            <a:off x="6610894" y="1688151"/>
            <a:ext cx="2100772" cy="642344"/>
          </a:xfrm>
          <a:prstGeom prst="wedgeRectCallout">
            <a:avLst>
              <a:gd name="adj1" fmla="val -77505"/>
              <a:gd name="adj2" fmla="val 114770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Färdplan för innovationsstrategin</a:t>
            </a:r>
          </a:p>
        </p:txBody>
      </p:sp>
      <p:sp>
        <p:nvSpPr>
          <p:cNvPr id="22" name="Pratbubbla: rektangel 21">
            <a:extLst>
              <a:ext uri="{FF2B5EF4-FFF2-40B4-BE49-F238E27FC236}">
                <a16:creationId xmlns:a16="http://schemas.microsoft.com/office/drawing/2014/main" id="{3B04F2BE-E83B-8A73-02C6-1FBB05B11711}"/>
              </a:ext>
            </a:extLst>
          </p:cNvPr>
          <p:cNvSpPr/>
          <p:nvPr/>
        </p:nvSpPr>
        <p:spPr>
          <a:xfrm>
            <a:off x="9028151" y="1712726"/>
            <a:ext cx="1716948" cy="554368"/>
          </a:xfrm>
          <a:prstGeom prst="wedgeRectCallout">
            <a:avLst>
              <a:gd name="adj1" fmla="val -135118"/>
              <a:gd name="adj2" fmla="val 155764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Vindkraftsplanering</a:t>
            </a:r>
          </a:p>
        </p:txBody>
      </p:sp>
      <p:sp>
        <p:nvSpPr>
          <p:cNvPr id="24" name="Pratbubbla: rektangel 23">
            <a:extLst>
              <a:ext uri="{FF2B5EF4-FFF2-40B4-BE49-F238E27FC236}">
                <a16:creationId xmlns:a16="http://schemas.microsoft.com/office/drawing/2014/main" id="{1D4B288E-66B0-AEFB-E9C1-0D0F899475F9}"/>
              </a:ext>
            </a:extLst>
          </p:cNvPr>
          <p:cNvSpPr/>
          <p:nvPr/>
        </p:nvSpPr>
        <p:spPr>
          <a:xfrm>
            <a:off x="661011" y="3446594"/>
            <a:ext cx="1872466" cy="415985"/>
          </a:xfrm>
          <a:prstGeom prst="wedgeRectCallout">
            <a:avLst>
              <a:gd name="adj1" fmla="val 123367"/>
              <a:gd name="adj2" fmla="val 5432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EFFEKT4Dalarna</a:t>
            </a:r>
          </a:p>
        </p:txBody>
      </p:sp>
      <p:sp>
        <p:nvSpPr>
          <p:cNvPr id="25" name="Pratbubbla: rektangel 24">
            <a:extLst>
              <a:ext uri="{FF2B5EF4-FFF2-40B4-BE49-F238E27FC236}">
                <a16:creationId xmlns:a16="http://schemas.microsoft.com/office/drawing/2014/main" id="{84816C51-15A0-03D8-0E9A-E395A749DC5B}"/>
              </a:ext>
            </a:extLst>
          </p:cNvPr>
          <p:cNvSpPr/>
          <p:nvPr/>
        </p:nvSpPr>
        <p:spPr>
          <a:xfrm>
            <a:off x="661011" y="2597061"/>
            <a:ext cx="1793262" cy="554368"/>
          </a:xfrm>
          <a:prstGeom prst="wedgeRectCallout">
            <a:avLst>
              <a:gd name="adj1" fmla="val 138775"/>
              <a:gd name="adj2" fmla="val 87732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Nätutvecklingsplaner</a:t>
            </a:r>
          </a:p>
        </p:txBody>
      </p:sp>
      <p:sp>
        <p:nvSpPr>
          <p:cNvPr id="26" name="Pratbubbla: rektangel 25">
            <a:extLst>
              <a:ext uri="{FF2B5EF4-FFF2-40B4-BE49-F238E27FC236}">
                <a16:creationId xmlns:a16="http://schemas.microsoft.com/office/drawing/2014/main" id="{7D2BC54D-02EF-28B2-38FD-A403DD6866FB}"/>
              </a:ext>
            </a:extLst>
          </p:cNvPr>
          <p:cNvSpPr/>
          <p:nvPr/>
        </p:nvSpPr>
        <p:spPr>
          <a:xfrm>
            <a:off x="696036" y="5192125"/>
            <a:ext cx="2016341" cy="778138"/>
          </a:xfrm>
          <a:prstGeom prst="wedgeRectCallout">
            <a:avLst>
              <a:gd name="adj1" fmla="val 119488"/>
              <a:gd name="adj2" fmla="val -119696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Regionala handlingsplaner för elektrifiering</a:t>
            </a:r>
          </a:p>
        </p:txBody>
      </p:sp>
      <p:sp>
        <p:nvSpPr>
          <p:cNvPr id="27" name="Pratbubbla: rektangel 26">
            <a:extLst>
              <a:ext uri="{FF2B5EF4-FFF2-40B4-BE49-F238E27FC236}">
                <a16:creationId xmlns:a16="http://schemas.microsoft.com/office/drawing/2014/main" id="{FE18F035-9B6A-17CA-4EC3-4C552CDB6F90}"/>
              </a:ext>
            </a:extLst>
          </p:cNvPr>
          <p:cNvSpPr/>
          <p:nvPr/>
        </p:nvSpPr>
        <p:spPr>
          <a:xfrm>
            <a:off x="3502055" y="5032610"/>
            <a:ext cx="3947097" cy="1097167"/>
          </a:xfrm>
          <a:prstGeom prst="wedgeRectCallout">
            <a:avLst>
              <a:gd name="adj1" fmla="val 3748"/>
              <a:gd name="adj2" fmla="val -8717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  <a:latin typeface="OriginalGaramondBTRoman"/>
              </a:rPr>
              <a:t>S</a:t>
            </a:r>
            <a:r>
              <a:rPr lang="sv-SE" sz="1400" b="1" i="0" u="none" strike="noStrike" baseline="0" dirty="0">
                <a:solidFill>
                  <a:schemeClr val="tx1"/>
                </a:solidFill>
                <a:latin typeface="OriginalGaramondBTRoman"/>
              </a:rPr>
              <a:t>töd till och främja samverkan mellan kommuner och andra lokala och regionala aktörer i arbetet med energiplanering och klimatåtgärder</a:t>
            </a:r>
            <a:r>
              <a:rPr lang="sv-SE" sz="1400" b="1" dirty="0">
                <a:solidFill>
                  <a:schemeClr val="tx1"/>
                </a:solidFill>
              </a:rPr>
              <a:t>  </a:t>
            </a:r>
          </a:p>
        </p:txBody>
      </p:sp>
      <p:sp>
        <p:nvSpPr>
          <p:cNvPr id="6" name="Pratbubbla: rektangel 5">
            <a:extLst>
              <a:ext uri="{FF2B5EF4-FFF2-40B4-BE49-F238E27FC236}">
                <a16:creationId xmlns:a16="http://schemas.microsoft.com/office/drawing/2014/main" id="{42A48241-85CE-2C91-4C5A-C27F428C1B37}"/>
              </a:ext>
            </a:extLst>
          </p:cNvPr>
          <p:cNvSpPr/>
          <p:nvPr/>
        </p:nvSpPr>
        <p:spPr>
          <a:xfrm>
            <a:off x="8349862" y="5371989"/>
            <a:ext cx="1872466" cy="642344"/>
          </a:xfrm>
          <a:prstGeom prst="wedgeRectCallout">
            <a:avLst>
              <a:gd name="adj1" fmla="val -140747"/>
              <a:gd name="adj2" fmla="val -18102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Kommunala energi- och klimatstrategier</a:t>
            </a:r>
          </a:p>
        </p:txBody>
      </p:sp>
      <p:sp>
        <p:nvSpPr>
          <p:cNvPr id="7" name="Pratbubbla: rektangel 6">
            <a:extLst>
              <a:ext uri="{FF2B5EF4-FFF2-40B4-BE49-F238E27FC236}">
                <a16:creationId xmlns:a16="http://schemas.microsoft.com/office/drawing/2014/main" id="{ADF544B8-CDB7-9631-2B4A-F5E7FD6024CA}"/>
              </a:ext>
            </a:extLst>
          </p:cNvPr>
          <p:cNvSpPr/>
          <p:nvPr/>
        </p:nvSpPr>
        <p:spPr>
          <a:xfrm>
            <a:off x="8502958" y="3547458"/>
            <a:ext cx="2767334" cy="554368"/>
          </a:xfrm>
          <a:prstGeom prst="wedgeRectCallout">
            <a:avLst>
              <a:gd name="adj1" fmla="val -104651"/>
              <a:gd name="adj2" fmla="val 2747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Beredskapsplanering</a:t>
            </a:r>
          </a:p>
        </p:txBody>
      </p:sp>
      <p:sp>
        <p:nvSpPr>
          <p:cNvPr id="8" name="Pratbubbla: rektangel 7">
            <a:extLst>
              <a:ext uri="{FF2B5EF4-FFF2-40B4-BE49-F238E27FC236}">
                <a16:creationId xmlns:a16="http://schemas.microsoft.com/office/drawing/2014/main" id="{6F4A9510-1399-327E-16F2-0B2F12B225D4}"/>
              </a:ext>
            </a:extLst>
          </p:cNvPr>
          <p:cNvSpPr/>
          <p:nvPr/>
        </p:nvSpPr>
        <p:spPr>
          <a:xfrm>
            <a:off x="8586466" y="2727833"/>
            <a:ext cx="2767334" cy="554368"/>
          </a:xfrm>
          <a:prstGeom prst="wedgeRectCallout">
            <a:avLst>
              <a:gd name="adj1" fmla="val -111994"/>
              <a:gd name="adj2" fmla="val 6641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Kortare tillståndstider</a:t>
            </a:r>
          </a:p>
        </p:txBody>
      </p:sp>
      <p:sp>
        <p:nvSpPr>
          <p:cNvPr id="9" name="Pratbubbla: rektangel 8">
            <a:extLst>
              <a:ext uri="{FF2B5EF4-FFF2-40B4-BE49-F238E27FC236}">
                <a16:creationId xmlns:a16="http://schemas.microsoft.com/office/drawing/2014/main" id="{E88BCFC4-2036-AF4A-7688-39A9A3DF24E0}"/>
              </a:ext>
            </a:extLst>
          </p:cNvPr>
          <p:cNvSpPr/>
          <p:nvPr/>
        </p:nvSpPr>
        <p:spPr>
          <a:xfrm>
            <a:off x="8586466" y="4371083"/>
            <a:ext cx="2767334" cy="554368"/>
          </a:xfrm>
          <a:prstGeom prst="wedgeRectCallout">
            <a:avLst>
              <a:gd name="adj1" fmla="val -120255"/>
              <a:gd name="adj2" fmla="val -5499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Lagen om kommunal energiplanering</a:t>
            </a:r>
          </a:p>
        </p:txBody>
      </p:sp>
      <p:sp>
        <p:nvSpPr>
          <p:cNvPr id="10" name="Pratbubbla: rektangel 9">
            <a:extLst>
              <a:ext uri="{FF2B5EF4-FFF2-40B4-BE49-F238E27FC236}">
                <a16:creationId xmlns:a16="http://schemas.microsoft.com/office/drawing/2014/main" id="{AFACC410-6EC4-2674-4D12-B813346B81AB}"/>
              </a:ext>
            </a:extLst>
          </p:cNvPr>
          <p:cNvSpPr/>
          <p:nvPr/>
        </p:nvSpPr>
        <p:spPr>
          <a:xfrm>
            <a:off x="661011" y="4175877"/>
            <a:ext cx="1872466" cy="642344"/>
          </a:xfrm>
          <a:prstGeom prst="wedgeRectCallout">
            <a:avLst>
              <a:gd name="adj1" fmla="val 123664"/>
              <a:gd name="adj2" fmla="val -4868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Uppdatering av regional energi- och klimatstrategi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895533BF-AA82-2526-A414-C894A70E4B6B}"/>
              </a:ext>
            </a:extLst>
          </p:cNvPr>
          <p:cNvSpPr txBox="1"/>
          <p:nvPr/>
        </p:nvSpPr>
        <p:spPr>
          <a:xfrm>
            <a:off x="3954459" y="2876224"/>
            <a:ext cx="305975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4400" b="1" dirty="0">
                <a:solidFill>
                  <a:srgbClr val="DB6E0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M-</a:t>
            </a:r>
            <a:br>
              <a:rPr lang="sv-SE" sz="4400" b="1" dirty="0">
                <a:solidFill>
                  <a:srgbClr val="DB6E0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sv-SE" sz="4400" b="1" dirty="0">
                <a:solidFill>
                  <a:srgbClr val="DB6E0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RDNING!</a:t>
            </a:r>
          </a:p>
        </p:txBody>
      </p:sp>
    </p:spTree>
    <p:extLst>
      <p:ext uri="{BB962C8B-B14F-4D97-AF65-F5344CB8AC3E}">
        <p14:creationId xmlns:p14="http://schemas.microsoft.com/office/powerpoint/2010/main" val="1460065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1" grpId="0" animBg="1"/>
      <p:bldP spid="22" grpId="0" animBg="1"/>
      <p:bldP spid="24" grpId="0" animBg="1"/>
      <p:bldP spid="25" grpId="0" animBg="1"/>
      <p:bldP spid="26" grpId="0" animBg="1"/>
      <p:bldP spid="27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Roller och aktörer </a:t>
            </a:r>
            <a:r>
              <a:rPr lang="sv-SE" sz="2000" dirty="0"/>
              <a:t>– organisering av energiförsörjning inom EID </a:t>
            </a:r>
            <a:endParaRPr lang="sv-SE" dirty="0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9DA7A743-5D49-DFA5-DE26-0AC4F338EF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4331" y="365125"/>
            <a:ext cx="909469" cy="909469"/>
          </a:xfrm>
          <a:prstGeom prst="rect">
            <a:avLst/>
          </a:prstGeom>
        </p:spPr>
      </p:pic>
      <p:sp>
        <p:nvSpPr>
          <p:cNvPr id="4" name="Ellips 3">
            <a:extLst>
              <a:ext uri="{FF2B5EF4-FFF2-40B4-BE49-F238E27FC236}">
                <a16:creationId xmlns:a16="http://schemas.microsoft.com/office/drawing/2014/main" id="{A4E15C4E-0471-2911-910D-1843417D867B}"/>
              </a:ext>
            </a:extLst>
          </p:cNvPr>
          <p:cNvSpPr/>
          <p:nvPr/>
        </p:nvSpPr>
        <p:spPr>
          <a:xfrm>
            <a:off x="1017142" y="1563688"/>
            <a:ext cx="10099496" cy="1325563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 dirty="0">
                <a:solidFill>
                  <a:schemeClr val="tx1"/>
                </a:solidFill>
              </a:rPr>
              <a:t>EFFEKT4Dalarna: Strategiskt forum</a:t>
            </a:r>
          </a:p>
          <a:p>
            <a:pPr algn="ctr"/>
            <a:r>
              <a:rPr lang="sv-SE" sz="1400" b="1" dirty="0">
                <a:solidFill>
                  <a:schemeClr val="tx1"/>
                </a:solidFill>
              </a:rPr>
              <a:t>Roll:</a:t>
            </a:r>
            <a:r>
              <a:rPr lang="sv-SE" sz="1400" dirty="0">
                <a:solidFill>
                  <a:schemeClr val="tx1"/>
                </a:solidFill>
              </a:rPr>
              <a:t> Strategisk styrgrupp för energiförsörjning 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Syfte:</a:t>
            </a:r>
            <a:r>
              <a:rPr lang="sv-SE" sz="1400" dirty="0">
                <a:solidFill>
                  <a:schemeClr val="tx1"/>
                </a:solidFill>
              </a:rPr>
              <a:t> Stöd i strategiska inriktningar och beslut. VAD.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Deltagare:</a:t>
            </a:r>
            <a:r>
              <a:rPr lang="sv-SE" sz="1400" dirty="0">
                <a:solidFill>
                  <a:schemeClr val="tx1"/>
                </a:solidFill>
              </a:rPr>
              <a:t> Dalarnas energibolag nyckelaktörer + några regionnät- och lokalnätägare, 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dirty="0">
                <a:solidFill>
                  <a:schemeClr val="tx1"/>
                </a:solidFill>
              </a:rPr>
              <a:t>+ t ex Fortum, </a:t>
            </a:r>
            <a:r>
              <a:rPr lang="sv-SE" sz="1400" dirty="0" err="1">
                <a:solidFill>
                  <a:schemeClr val="tx1"/>
                </a:solidFill>
              </a:rPr>
              <a:t>DalaVind</a:t>
            </a:r>
            <a:r>
              <a:rPr lang="sv-SE" sz="1400" dirty="0">
                <a:solidFill>
                  <a:schemeClr val="tx1"/>
                </a:solidFill>
              </a:rPr>
              <a:t>, Handelskammaren, </a:t>
            </a:r>
            <a:r>
              <a:rPr lang="sv-SE" sz="1400" dirty="0" err="1">
                <a:solidFill>
                  <a:schemeClr val="tx1"/>
                </a:solidFill>
              </a:rPr>
              <a:t>repr</a:t>
            </a:r>
            <a:r>
              <a:rPr lang="sv-SE" sz="1400" dirty="0">
                <a:solidFill>
                  <a:schemeClr val="tx1"/>
                </a:solidFill>
              </a:rPr>
              <a:t> processindustri och kommunförbundet, RD</a:t>
            </a:r>
          </a:p>
          <a:p>
            <a:pPr algn="ctr"/>
            <a:r>
              <a:rPr lang="sv-SE" sz="1400" b="1" dirty="0">
                <a:solidFill>
                  <a:schemeClr val="tx1"/>
                </a:solidFill>
              </a:rPr>
              <a:t>Ansvar: </a:t>
            </a:r>
            <a:r>
              <a:rPr lang="sv-SE" sz="1400" dirty="0">
                <a:solidFill>
                  <a:schemeClr val="tx1"/>
                </a:solidFill>
              </a:rPr>
              <a:t>Länsstyrelsen</a:t>
            </a:r>
          </a:p>
        </p:txBody>
      </p:sp>
      <p:sp>
        <p:nvSpPr>
          <p:cNvPr id="6" name="Ellips 5">
            <a:extLst>
              <a:ext uri="{FF2B5EF4-FFF2-40B4-BE49-F238E27FC236}">
                <a16:creationId xmlns:a16="http://schemas.microsoft.com/office/drawing/2014/main" id="{6694AE51-60CD-7C16-A4C1-CB10B6C22F2F}"/>
              </a:ext>
            </a:extLst>
          </p:cNvPr>
          <p:cNvSpPr/>
          <p:nvPr/>
        </p:nvSpPr>
        <p:spPr>
          <a:xfrm>
            <a:off x="1920536" y="3024907"/>
            <a:ext cx="8132184" cy="1212426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 dirty="0">
                <a:solidFill>
                  <a:schemeClr val="tx1"/>
                </a:solidFill>
              </a:rPr>
              <a:t>EFFEKT4Dalarna: Storforum</a:t>
            </a:r>
          </a:p>
          <a:p>
            <a:pPr algn="ctr"/>
            <a:r>
              <a:rPr lang="sv-SE" sz="1400" b="1" dirty="0">
                <a:solidFill>
                  <a:schemeClr val="tx1"/>
                </a:solidFill>
              </a:rPr>
              <a:t>Roll:</a:t>
            </a:r>
            <a:r>
              <a:rPr lang="sv-SE" sz="1400" dirty="0">
                <a:solidFill>
                  <a:schemeClr val="tx1"/>
                </a:solidFill>
              </a:rPr>
              <a:t> Operativ samverkansplattform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Syfte:</a:t>
            </a:r>
            <a:r>
              <a:rPr lang="sv-SE" sz="1400" dirty="0">
                <a:solidFill>
                  <a:schemeClr val="tx1"/>
                </a:solidFill>
              </a:rPr>
              <a:t> Förankring, omvärldsdialog, fånga behov, samverkan.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Deltagare:</a:t>
            </a:r>
            <a:r>
              <a:rPr lang="sv-SE" sz="1400" dirty="0">
                <a:solidFill>
                  <a:schemeClr val="tx1"/>
                </a:solidFill>
              </a:rPr>
              <a:t> Efter behov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Ansvar: </a:t>
            </a:r>
            <a:r>
              <a:rPr lang="sv-SE" sz="1400" dirty="0">
                <a:solidFill>
                  <a:schemeClr val="tx1"/>
                </a:solidFill>
              </a:rPr>
              <a:t>Länsstyrelsen, </a:t>
            </a:r>
            <a:r>
              <a:rPr lang="sv-SE" sz="1400" dirty="0" err="1">
                <a:solidFill>
                  <a:schemeClr val="tx1"/>
                </a:solidFill>
              </a:rPr>
              <a:t>High</a:t>
            </a:r>
            <a:r>
              <a:rPr lang="sv-SE" sz="1400" dirty="0">
                <a:solidFill>
                  <a:schemeClr val="tx1"/>
                </a:solidFill>
              </a:rPr>
              <a:t> </a:t>
            </a:r>
            <a:r>
              <a:rPr lang="sv-SE" sz="1400" dirty="0" err="1">
                <a:solidFill>
                  <a:schemeClr val="tx1"/>
                </a:solidFill>
              </a:rPr>
              <a:t>Voltage</a:t>
            </a:r>
            <a:r>
              <a:rPr lang="sv-SE" sz="1400" dirty="0">
                <a:solidFill>
                  <a:schemeClr val="tx1"/>
                </a:solidFill>
              </a:rPr>
              <a:t> </a:t>
            </a:r>
            <a:r>
              <a:rPr lang="sv-SE" sz="1400" dirty="0" err="1">
                <a:solidFill>
                  <a:schemeClr val="tx1"/>
                </a:solidFill>
              </a:rPr>
              <a:t>Valley</a:t>
            </a:r>
            <a:r>
              <a:rPr lang="sv-SE" sz="1400" dirty="0">
                <a:solidFill>
                  <a:schemeClr val="tx1"/>
                </a:solidFill>
              </a:rPr>
              <a:t>, RD</a:t>
            </a: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EC2089BA-1376-5429-EBAA-A55A1863A7C5}"/>
              </a:ext>
            </a:extLst>
          </p:cNvPr>
          <p:cNvSpPr/>
          <p:nvPr/>
        </p:nvSpPr>
        <p:spPr>
          <a:xfrm>
            <a:off x="534256" y="4087815"/>
            <a:ext cx="3527461" cy="2625512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b="1" dirty="0">
                <a:solidFill>
                  <a:schemeClr val="tx1"/>
                </a:solidFill>
              </a:rPr>
              <a:t>EFFEKT4Dalarna: Arbetsgrupp </a:t>
            </a:r>
          </a:p>
          <a:p>
            <a:pPr algn="ctr"/>
            <a:r>
              <a:rPr lang="sv-SE" sz="1400" b="1" dirty="0">
                <a:solidFill>
                  <a:schemeClr val="tx1"/>
                </a:solidFill>
              </a:rPr>
              <a:t>Roll:</a:t>
            </a:r>
            <a:r>
              <a:rPr lang="sv-SE" sz="1400" dirty="0">
                <a:solidFill>
                  <a:schemeClr val="tx1"/>
                </a:solidFill>
              </a:rPr>
              <a:t> Operativt genomförande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Syfte:</a:t>
            </a:r>
            <a:r>
              <a:rPr lang="sv-SE" sz="1400" dirty="0">
                <a:solidFill>
                  <a:schemeClr val="tx1"/>
                </a:solidFill>
              </a:rPr>
              <a:t> Genomföra strategisk inriktning. HUR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Deltagare:</a:t>
            </a:r>
            <a:r>
              <a:rPr lang="sv-SE" sz="1400" dirty="0">
                <a:solidFill>
                  <a:schemeClr val="tx1"/>
                </a:solidFill>
              </a:rPr>
              <a:t> Lokala och regionala elnätägare, </a:t>
            </a:r>
            <a:r>
              <a:rPr lang="sv-SE" sz="1400" dirty="0" err="1">
                <a:solidFill>
                  <a:schemeClr val="tx1"/>
                </a:solidFill>
              </a:rPr>
              <a:t>SvK</a:t>
            </a:r>
            <a:r>
              <a:rPr lang="sv-SE" sz="1400" dirty="0">
                <a:solidFill>
                  <a:schemeClr val="tx1"/>
                </a:solidFill>
              </a:rPr>
              <a:t>, </a:t>
            </a:r>
            <a:r>
              <a:rPr lang="sv-SE" sz="1400" dirty="0" err="1">
                <a:solidFill>
                  <a:schemeClr val="tx1"/>
                </a:solidFill>
              </a:rPr>
              <a:t>Lst</a:t>
            </a:r>
            <a:r>
              <a:rPr lang="sv-SE" sz="1400" dirty="0">
                <a:solidFill>
                  <a:schemeClr val="tx1"/>
                </a:solidFill>
              </a:rPr>
              <a:t>, RD</a:t>
            </a:r>
            <a:br>
              <a:rPr lang="sv-SE" sz="1400" dirty="0">
                <a:solidFill>
                  <a:schemeClr val="tx1"/>
                </a:solidFill>
              </a:rPr>
            </a:br>
            <a:r>
              <a:rPr lang="sv-SE" sz="1400" b="1" dirty="0">
                <a:solidFill>
                  <a:schemeClr val="tx1"/>
                </a:solidFill>
              </a:rPr>
              <a:t>Ansvar:</a:t>
            </a:r>
            <a:r>
              <a:rPr lang="sv-SE" sz="1400" dirty="0">
                <a:solidFill>
                  <a:schemeClr val="tx1"/>
                </a:solidFill>
              </a:rPr>
              <a:t> </a:t>
            </a:r>
            <a:r>
              <a:rPr lang="sv-SE" sz="1400" dirty="0" err="1">
                <a:solidFill>
                  <a:schemeClr val="tx1"/>
                </a:solidFill>
              </a:rPr>
              <a:t>High</a:t>
            </a:r>
            <a:r>
              <a:rPr lang="sv-SE" sz="1400" dirty="0">
                <a:solidFill>
                  <a:schemeClr val="tx1"/>
                </a:solidFill>
              </a:rPr>
              <a:t> </a:t>
            </a:r>
            <a:r>
              <a:rPr lang="sv-SE" sz="1400" dirty="0" err="1">
                <a:solidFill>
                  <a:schemeClr val="tx1"/>
                </a:solidFill>
              </a:rPr>
              <a:t>Voltage</a:t>
            </a:r>
            <a:r>
              <a:rPr lang="sv-SE" sz="1400" dirty="0">
                <a:solidFill>
                  <a:schemeClr val="tx1"/>
                </a:solidFill>
              </a:rPr>
              <a:t> </a:t>
            </a:r>
            <a:r>
              <a:rPr lang="sv-SE" sz="1400" dirty="0" err="1">
                <a:solidFill>
                  <a:schemeClr val="tx1"/>
                </a:solidFill>
              </a:rPr>
              <a:t>Valley</a:t>
            </a:r>
            <a:endParaRPr lang="sv-SE" sz="1400" dirty="0">
              <a:solidFill>
                <a:schemeClr val="tx1"/>
              </a:solidFill>
            </a:endParaRP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6CF44CE7-9393-6E8A-7BE8-396A769E8F9E}"/>
              </a:ext>
            </a:extLst>
          </p:cNvPr>
          <p:cNvSpPr/>
          <p:nvPr/>
        </p:nvSpPr>
        <p:spPr>
          <a:xfrm>
            <a:off x="4876170" y="5147429"/>
            <a:ext cx="1692587" cy="1376738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</a:rPr>
              <a:t>Plattform för innovations-området Smarta energisystem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6016E1B3-08DA-23C7-3AFF-C440CB287318}"/>
              </a:ext>
            </a:extLst>
          </p:cNvPr>
          <p:cNvSpPr txBox="1"/>
          <p:nvPr/>
        </p:nvSpPr>
        <p:spPr>
          <a:xfrm>
            <a:off x="5018926" y="4501063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v-SE" sz="1800" dirty="0">
                <a:solidFill>
                  <a:schemeClr val="tx1"/>
                </a:solidFill>
              </a:rPr>
              <a:t>Andra processer/ samverkan, </a:t>
            </a:r>
            <a:r>
              <a:rPr lang="sv-SE" dirty="0" err="1"/>
              <a:t>bl</a:t>
            </a:r>
            <a:r>
              <a:rPr lang="sv-SE" dirty="0"/>
              <a:t> a</a:t>
            </a:r>
            <a:r>
              <a:rPr lang="sv-SE" sz="1800" dirty="0">
                <a:solidFill>
                  <a:schemeClr val="tx1"/>
                </a:solidFill>
              </a:rPr>
              <a:t>:</a:t>
            </a: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52C47411-764F-0BB7-9E4E-04040C18B451}"/>
              </a:ext>
            </a:extLst>
          </p:cNvPr>
          <p:cNvSpPr/>
          <p:nvPr/>
        </p:nvSpPr>
        <p:spPr>
          <a:xfrm>
            <a:off x="6742326" y="5163284"/>
            <a:ext cx="1281768" cy="994997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</a:rPr>
              <a:t>Mid Sweden Hydrogen </a:t>
            </a:r>
            <a:r>
              <a:rPr lang="sv-SE" sz="1400" dirty="0" err="1">
                <a:solidFill>
                  <a:schemeClr val="tx1"/>
                </a:solidFill>
              </a:rPr>
              <a:t>Valley</a:t>
            </a:r>
            <a:endParaRPr lang="sv-SE" sz="1400" dirty="0">
              <a:solidFill>
                <a:schemeClr val="tx1"/>
              </a:solidFill>
            </a:endParaRPr>
          </a:p>
        </p:txBody>
      </p:sp>
      <p:sp>
        <p:nvSpPr>
          <p:cNvPr id="12" name="Ellips 11">
            <a:extLst>
              <a:ext uri="{FF2B5EF4-FFF2-40B4-BE49-F238E27FC236}">
                <a16:creationId xmlns:a16="http://schemas.microsoft.com/office/drawing/2014/main" id="{7ACB169B-64F6-3FEB-0221-FCCD47FCC6A9}"/>
              </a:ext>
            </a:extLst>
          </p:cNvPr>
          <p:cNvSpPr/>
          <p:nvPr/>
        </p:nvSpPr>
        <p:spPr>
          <a:xfrm>
            <a:off x="7984753" y="5851666"/>
            <a:ext cx="894628" cy="712747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</a:rPr>
              <a:t>SOLVE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2EF5103B-000F-4C33-15C7-8EE4833C0B93}"/>
              </a:ext>
            </a:extLst>
          </p:cNvPr>
          <p:cNvSpPr txBox="1"/>
          <p:nvPr/>
        </p:nvSpPr>
        <p:spPr>
          <a:xfrm rot="829457">
            <a:off x="9132955" y="1795116"/>
            <a:ext cx="104796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dirty="0"/>
              <a:t>FÖRSLAG</a:t>
            </a:r>
          </a:p>
        </p:txBody>
      </p:sp>
      <p:sp>
        <p:nvSpPr>
          <p:cNvPr id="14" name="Ellips 13">
            <a:extLst>
              <a:ext uri="{FF2B5EF4-FFF2-40B4-BE49-F238E27FC236}">
                <a16:creationId xmlns:a16="http://schemas.microsoft.com/office/drawing/2014/main" id="{D2071BD3-1394-FE64-8176-87FDFC3E742E}"/>
              </a:ext>
            </a:extLst>
          </p:cNvPr>
          <p:cNvSpPr/>
          <p:nvPr/>
        </p:nvSpPr>
        <p:spPr>
          <a:xfrm>
            <a:off x="9969928" y="5564366"/>
            <a:ext cx="948806" cy="909469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</a:rPr>
              <a:t>Fjärr-värme</a:t>
            </a:r>
          </a:p>
        </p:txBody>
      </p:sp>
      <p:sp>
        <p:nvSpPr>
          <p:cNvPr id="15" name="Ellips 14">
            <a:extLst>
              <a:ext uri="{FF2B5EF4-FFF2-40B4-BE49-F238E27FC236}">
                <a16:creationId xmlns:a16="http://schemas.microsoft.com/office/drawing/2014/main" id="{5A014ADE-D97B-066A-227B-9AF25FE4F645}"/>
              </a:ext>
            </a:extLst>
          </p:cNvPr>
          <p:cNvSpPr/>
          <p:nvPr/>
        </p:nvSpPr>
        <p:spPr>
          <a:xfrm>
            <a:off x="8651215" y="4881419"/>
            <a:ext cx="1401505" cy="1144339"/>
          </a:xfrm>
          <a:prstGeom prst="ellipse">
            <a:avLst/>
          </a:prstGeom>
          <a:solidFill>
            <a:srgbClr val="F8E2C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</a:rPr>
              <a:t>VD-gruppen Energi-bolagen</a:t>
            </a:r>
          </a:p>
        </p:txBody>
      </p:sp>
    </p:spTree>
    <p:extLst>
      <p:ext uri="{BB962C8B-B14F-4D97-AF65-F5344CB8AC3E}">
        <p14:creationId xmlns:p14="http://schemas.microsoft.com/office/powerpoint/2010/main" val="396002766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486AA377-2ABC-4CD8-AADD-A0029CC532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4664" y="1456633"/>
            <a:ext cx="5790874" cy="3670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194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Gruppdiskussioner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9DA7A743-5D49-DFA5-DE26-0AC4F338EF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4331" y="365125"/>
            <a:ext cx="909469" cy="909469"/>
          </a:xfrm>
          <a:prstGeom prst="rect">
            <a:avLst/>
          </a:prstGeom>
        </p:spPr>
      </p:pic>
      <p:sp>
        <p:nvSpPr>
          <p:cNvPr id="4" name="Platshållare för innehåll 5">
            <a:extLst>
              <a:ext uri="{FF2B5EF4-FFF2-40B4-BE49-F238E27FC236}">
                <a16:creationId xmlns:a16="http://schemas.microsoft.com/office/drawing/2014/main" id="{EBA6F9D1-646A-37C5-E3C1-3EA592AA72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36423"/>
            <a:ext cx="10515600" cy="3940539"/>
          </a:xfrm>
        </p:spPr>
        <p:txBody>
          <a:bodyPr/>
          <a:lstStyle/>
          <a:p>
            <a:pPr marL="514350" indent="-514350">
              <a:buAutoNum type="arabicParenR"/>
              <a:tabLst>
                <a:tab pos="985838" algn="l"/>
              </a:tabLst>
            </a:pPr>
            <a:r>
              <a:rPr lang="sv-SE" dirty="0"/>
              <a:t>Vad är er roll? Har ni plan för energiplanering?</a:t>
            </a:r>
            <a:br>
              <a:rPr lang="sv-SE" dirty="0"/>
            </a:br>
            <a:endParaRPr lang="sv-SE" dirty="0"/>
          </a:p>
          <a:p>
            <a:pPr marL="514350" indent="-514350">
              <a:buAutoNum type="arabicParenR"/>
            </a:pPr>
            <a:r>
              <a:rPr lang="sv-SE" dirty="0"/>
              <a:t>Vilka behov av stöd och samordning finns? </a:t>
            </a:r>
            <a:br>
              <a:rPr lang="sv-SE" dirty="0"/>
            </a:br>
            <a:r>
              <a:rPr lang="sv-SE" dirty="0"/>
              <a:t>Hur jobbar vi smartast med detta?</a:t>
            </a:r>
            <a:br>
              <a:rPr lang="sv-SE" dirty="0"/>
            </a:br>
            <a:endParaRPr lang="sv-SE" dirty="0"/>
          </a:p>
          <a:p>
            <a:pPr marL="514350" indent="-514350">
              <a:buAutoNum type="arabicParenR"/>
            </a:pPr>
            <a:r>
              <a:rPr lang="sv-SE" dirty="0"/>
              <a:t>Finns medskick till bildade av strategiskt forum och landshövdingens strategiska samtal 22 mars?</a:t>
            </a:r>
          </a:p>
        </p:txBody>
      </p:sp>
    </p:spTree>
    <p:extLst>
      <p:ext uri="{BB962C8B-B14F-4D97-AF65-F5344CB8AC3E}">
        <p14:creationId xmlns:p14="http://schemas.microsoft.com/office/powerpoint/2010/main" val="299329813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65300" y="2092325"/>
            <a:ext cx="8978900" cy="1325563"/>
          </a:xfrm>
        </p:spPr>
        <p:txBody>
          <a:bodyPr>
            <a:normAutofit/>
          </a:bodyPr>
          <a:lstStyle/>
          <a:p>
            <a:r>
              <a:rPr lang="sv-SE" dirty="0"/>
              <a:t>Reflektioner och uppsummering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9DA7A743-5D49-DFA5-DE26-0AC4F338EF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4331" y="365125"/>
            <a:ext cx="909469" cy="909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164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325563"/>
          </a:xfrm>
        </p:spPr>
        <p:txBody>
          <a:bodyPr/>
          <a:lstStyle/>
          <a:p>
            <a:r>
              <a:rPr lang="sv-SE" dirty="0"/>
              <a:t>Genomförande av energibolagens färdplan för Dalarnas energisystem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3831330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Lars Lindblom, Samarkand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5566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3F6F8BC-215C-C06D-9C91-72F434DED7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558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7ED7227-CA91-37F6-0D3D-B74B40975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ästa ste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623B267-EFED-72F2-A867-A3990AF98E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sv-SE" dirty="0"/>
              <a:t>Konkretisering (handlingsplan) – Omsätta i praktiken</a:t>
            </a:r>
          </a:p>
          <a:p>
            <a:pPr marL="0" indent="0">
              <a:buNone/>
            </a:pPr>
            <a:r>
              <a:rPr lang="sv-SE" dirty="0"/>
              <a:t>Kommunicera bilden</a:t>
            </a:r>
          </a:p>
          <a:p>
            <a:pPr marL="0" indent="0">
              <a:buNone/>
            </a:pPr>
            <a:r>
              <a:rPr lang="sv-SE" dirty="0"/>
              <a:t>Klargöra ansvar och roller</a:t>
            </a:r>
          </a:p>
          <a:p>
            <a:pPr marL="0" indent="0">
              <a:buNone/>
            </a:pPr>
            <a:endParaRPr lang="sv-SE" i="1" dirty="0"/>
          </a:p>
          <a:p>
            <a:r>
              <a:rPr lang="sv-SE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örenkla, förtydliga och förankra!</a:t>
            </a:r>
          </a:p>
          <a:p>
            <a:r>
              <a:rPr lang="sv-SE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aktiskt samverkan-dialog. </a:t>
            </a:r>
          </a:p>
          <a:p>
            <a:r>
              <a:rPr lang="sv-SE" sz="2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nderlätta, inte öka bördan! Inte jobba dubbelt, inte göra saker som redan görs och att det är relevans i det vi faktiskt gör.  </a:t>
            </a:r>
          </a:p>
          <a:p>
            <a:pPr marL="0" indent="0">
              <a:buNone/>
            </a:pPr>
            <a:endParaRPr lang="sv-SE" i="1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948592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88B1A92-AD85-C042-F3B3-A3E8EBD0B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250" y="2103437"/>
            <a:ext cx="9385300" cy="1477045"/>
          </a:xfrm>
        </p:spPr>
        <p:txBody>
          <a:bodyPr>
            <a:noAutofit/>
          </a:bodyPr>
          <a:lstStyle/>
          <a:p>
            <a:r>
              <a:rPr lang="sv-SE" dirty="0"/>
              <a:t>Färdplan för Smarta energisystem</a:t>
            </a:r>
            <a:br>
              <a:rPr lang="sv-SE" dirty="0"/>
            </a:br>
            <a:r>
              <a:rPr lang="sv-SE" dirty="0"/>
              <a:t>- Dalarnas regionala energi- och klimatstrategi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211C77-A971-B22E-F3B7-2011D91B2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4137578"/>
            <a:ext cx="8636000" cy="523875"/>
          </a:xfrm>
        </p:spPr>
        <p:txBody>
          <a:bodyPr/>
          <a:lstStyle/>
          <a:p>
            <a:pPr marL="0" indent="0" algn="ctr">
              <a:buNone/>
            </a:pPr>
            <a:r>
              <a:rPr lang="sv-SE" dirty="0"/>
              <a:t>Marit Ragnarsson, Länsstyrels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8089516-C356-B8B2-9FD1-D85140337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400" y="560388"/>
            <a:ext cx="1104900" cy="110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2024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623B267-EFED-72F2-A867-A3990AF98E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91300" y="433387"/>
            <a:ext cx="4876800" cy="5383213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sv-SE" sz="2600" b="1" dirty="0"/>
              <a:t>Färdplaner för varje sektor i strategin</a:t>
            </a:r>
          </a:p>
          <a:p>
            <a:r>
              <a:rPr lang="sv-SE" sz="1900" dirty="0"/>
              <a:t>Färdplan för klimatsmart och energieffektivt Byggande &amp; Boende</a:t>
            </a:r>
          </a:p>
          <a:p>
            <a:r>
              <a:rPr lang="sv-SE" sz="1900" dirty="0"/>
              <a:t>Färdplan för Produktion</a:t>
            </a:r>
          </a:p>
          <a:p>
            <a:r>
              <a:rPr lang="sv-SE" sz="1900" dirty="0"/>
              <a:t>Färdplan för minskad klimatpåverkan Jordbruk</a:t>
            </a:r>
          </a:p>
          <a:p>
            <a:r>
              <a:rPr lang="sv-SE" sz="1900" dirty="0"/>
              <a:t>Färdplan för Hållbara och konkurrenskraftiga godstransporter</a:t>
            </a:r>
          </a:p>
          <a:p>
            <a:r>
              <a:rPr lang="sv-SE" sz="1900" dirty="0"/>
              <a:t>Färdplan för klimatsmart Konsumtion</a:t>
            </a:r>
          </a:p>
          <a:p>
            <a:r>
              <a:rPr lang="sv-SE" sz="1900" dirty="0"/>
              <a:t>Färdplan för Innovation (innovationsstrategin)</a:t>
            </a:r>
          </a:p>
          <a:p>
            <a:pPr marL="0" indent="0">
              <a:buNone/>
            </a:pPr>
            <a:r>
              <a:rPr lang="sv-SE" sz="1900" b="1" dirty="0"/>
              <a:t>+ Färdplan för Smarta energisystem</a:t>
            </a:r>
            <a:br>
              <a:rPr lang="sv-SE" sz="1900" b="1" dirty="0"/>
            </a:br>
            <a:endParaRPr lang="sv-SE" sz="1900" b="1" dirty="0"/>
          </a:p>
          <a:p>
            <a:pPr marL="0" indent="0">
              <a:buNone/>
            </a:pPr>
            <a:r>
              <a:rPr lang="sv-SE" sz="2600" b="1" dirty="0"/>
              <a:t>Nuläge, Möjligheter, Mål, Åtgärder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544687F-57F2-ED65-B2B0-9CAA14F8BD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4100" y="279400"/>
            <a:ext cx="5257800" cy="5257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1930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2910D596-1BDD-C544-BFCC-58A141BD2E2D}" vid="{222F4C48-B1DE-E94C-8753-7F6DC58197CE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11292</TotalTime>
  <Words>1767</Words>
  <Application>Microsoft Office PowerPoint</Application>
  <PresentationFormat>Bredbild</PresentationFormat>
  <Paragraphs>292</Paragraphs>
  <Slides>43</Slides>
  <Notes>36</Notes>
  <HiddenSlides>1</HiddenSlides>
  <MMClips>0</MMClips>
  <ScaleCrop>false</ScaleCrop>
  <HeadingPairs>
    <vt:vector size="8" baseType="variant">
      <vt:variant>
        <vt:lpstr>Använt teckensnitt</vt:lpstr>
      </vt:variant>
      <vt:variant>
        <vt:i4>9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43</vt:i4>
      </vt:variant>
    </vt:vector>
  </HeadingPairs>
  <TitlesOfParts>
    <vt:vector size="54" baseType="lpstr">
      <vt:lpstr>ADLaM Display</vt:lpstr>
      <vt:lpstr>Arial</vt:lpstr>
      <vt:lpstr>Calibri</vt:lpstr>
      <vt:lpstr>Calibri Light</vt:lpstr>
      <vt:lpstr>Eras Medium ITC</vt:lpstr>
      <vt:lpstr>FuturaEF-Book</vt:lpstr>
      <vt:lpstr>Georgia</vt:lpstr>
      <vt:lpstr>OriginalGaramondBTRoman</vt:lpstr>
      <vt:lpstr>Wingdings</vt:lpstr>
      <vt:lpstr>Office-tema</vt:lpstr>
      <vt:lpstr>think-cell Slide</vt:lpstr>
      <vt:lpstr>  Energiplanering</vt:lpstr>
      <vt:lpstr>PowerPoint-presentation</vt:lpstr>
      <vt:lpstr>PowerPoint-presentation</vt:lpstr>
      <vt:lpstr>Mycket på gång inom energiplanering….</vt:lpstr>
      <vt:lpstr>Genomförande av energibolagens färdplan för Dalarnas energisystem</vt:lpstr>
      <vt:lpstr>PowerPoint-presentation</vt:lpstr>
      <vt:lpstr>Nästa steg</vt:lpstr>
      <vt:lpstr>Färdplan för Smarta energisystem - Dalarnas regionala energi- och klimatstrategi</vt:lpstr>
      <vt:lpstr>PowerPoint-presentation</vt:lpstr>
      <vt:lpstr>Färdplan för smarta energisystem</vt:lpstr>
      <vt:lpstr>Färdplan för Smarta energisystem - Dalarnas innovationsstrategi</vt:lpstr>
      <vt:lpstr>Strategi för smart hållbar specialisering</vt:lpstr>
      <vt:lpstr>Kunskapsområden</vt:lpstr>
      <vt:lpstr>Plattform och färdplan Smarta Energisystem</vt:lpstr>
      <vt:lpstr>Nätutvecklingsplaner</vt:lpstr>
      <vt:lpstr>Process för framtagning av nätutvecklingsplaner</vt:lpstr>
      <vt:lpstr>Sammanfattning</vt:lpstr>
      <vt:lpstr>Vindkraftsplanering</vt:lpstr>
      <vt:lpstr>Regionalt planeringsunderlag</vt:lpstr>
      <vt:lpstr>Landskapskaraktärs-analys Dalarna</vt:lpstr>
      <vt:lpstr>Uppdatering av regional energi- och klimatstrategi - Regeringsuppdrag</vt:lpstr>
      <vt:lpstr>Regional energi- och klimatstrategi</vt:lpstr>
      <vt:lpstr>Regional handlingsplan för elektrifiering - Regeringsuppdrag</vt:lpstr>
      <vt:lpstr>Handlingsplan för elektrifiering</vt:lpstr>
      <vt:lpstr> Stöd till och främja samverkan mellan kommuner och andra lokala och regionala aktörer   - Regeringsuppdrag </vt:lpstr>
      <vt:lpstr>Stöd till kommuner och samverkan</vt:lpstr>
      <vt:lpstr> Lagen om kommunal energiplanering   </vt:lpstr>
      <vt:lpstr>Lagen om kommunal energiplanering</vt:lpstr>
      <vt:lpstr>Innehåll?</vt:lpstr>
      <vt:lpstr> Beredskapsplanering  </vt:lpstr>
      <vt:lpstr> Fysisk planering  </vt:lpstr>
      <vt:lpstr>Fysisk planering</vt:lpstr>
      <vt:lpstr>EFFEKT4Dalarna, genomförandeprojekt</vt:lpstr>
      <vt:lpstr>Projektplan</vt:lpstr>
      <vt:lpstr>Så får vi ihop det…</vt:lpstr>
      <vt:lpstr>Aktiviteter 2024</vt:lpstr>
      <vt:lpstr>PowerPoint-presentation</vt:lpstr>
      <vt:lpstr>Aktiviteter 2024</vt:lpstr>
      <vt:lpstr>Kommunsammanfattning</vt:lpstr>
      <vt:lpstr>Roller och aktörer – organisering av energiförsörjning inom EID </vt:lpstr>
      <vt:lpstr>PowerPoint-presentation</vt:lpstr>
      <vt:lpstr>Gruppdiskussioner</vt:lpstr>
      <vt:lpstr>Reflektioner och uppsummer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Emelie Sandén</dc:creator>
  <cp:lastModifiedBy>Ragnarsson Marit</cp:lastModifiedBy>
  <cp:revision>190</cp:revision>
  <cp:lastPrinted>2024-02-16T06:30:55Z</cp:lastPrinted>
  <dcterms:created xsi:type="dcterms:W3CDTF">2021-02-08T06:03:38Z</dcterms:created>
  <dcterms:modified xsi:type="dcterms:W3CDTF">2024-02-16T06:34:39Z</dcterms:modified>
</cp:coreProperties>
</file>